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5.xml" ContentType="application/vnd.openxmlformats-officedocument.presentationml.tags+xml"/>
  <Override PartName="/ppt/tags/tag46.xml" ContentType="application/vnd.openxmlformats-officedocument.presentationml.tags+xml"/>
  <Override PartName="/ppt/notesSlides/notesSlide2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Lst>
  <p:notesMasterIdLst>
    <p:notesMasterId r:id="rId39"/>
  </p:notesMasterIdLst>
  <p:sldIdLst>
    <p:sldId id="296" r:id="rId3"/>
    <p:sldId id="342" r:id="rId4"/>
    <p:sldId id="359" r:id="rId5"/>
    <p:sldId id="368" r:id="rId6"/>
    <p:sldId id="373" r:id="rId7"/>
    <p:sldId id="371" r:id="rId8"/>
    <p:sldId id="337" r:id="rId9"/>
    <p:sldId id="331" r:id="rId10"/>
    <p:sldId id="372" r:id="rId11"/>
    <p:sldId id="344" r:id="rId12"/>
    <p:sldId id="366" r:id="rId13"/>
    <p:sldId id="334" r:id="rId14"/>
    <p:sldId id="374" r:id="rId15"/>
    <p:sldId id="375" r:id="rId16"/>
    <p:sldId id="376" r:id="rId17"/>
    <p:sldId id="377" r:id="rId18"/>
    <p:sldId id="356" r:id="rId19"/>
    <p:sldId id="304" r:id="rId20"/>
    <p:sldId id="319" r:id="rId21"/>
    <p:sldId id="326" r:id="rId22"/>
    <p:sldId id="323" r:id="rId23"/>
    <p:sldId id="360" r:id="rId24"/>
    <p:sldId id="327" r:id="rId25"/>
    <p:sldId id="362" r:id="rId26"/>
    <p:sldId id="363" r:id="rId27"/>
    <p:sldId id="365" r:id="rId28"/>
    <p:sldId id="329" r:id="rId29"/>
    <p:sldId id="328" r:id="rId30"/>
    <p:sldId id="341" r:id="rId31"/>
    <p:sldId id="352" r:id="rId32"/>
    <p:sldId id="358" r:id="rId33"/>
    <p:sldId id="351" r:id="rId34"/>
    <p:sldId id="353" r:id="rId35"/>
    <p:sldId id="346" r:id="rId36"/>
    <p:sldId id="367" r:id="rId37"/>
    <p:sldId id="355" r:id="rId38"/>
  </p:sldIdLst>
  <p:sldSz cx="9144000" cy="6858000" type="screen4x3"/>
  <p:notesSz cx="6797675" cy="9926638"/>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0C633600-02C5-469B-BB37-1BAE255F94C8}">
          <p14:sldIdLst>
            <p14:sldId id="296"/>
            <p14:sldId id="342"/>
            <p14:sldId id="359"/>
            <p14:sldId id="368"/>
            <p14:sldId id="373"/>
            <p14:sldId id="371"/>
            <p14:sldId id="337"/>
            <p14:sldId id="331"/>
            <p14:sldId id="372"/>
            <p14:sldId id="344"/>
            <p14:sldId id="366"/>
            <p14:sldId id="334"/>
            <p14:sldId id="374"/>
            <p14:sldId id="375"/>
            <p14:sldId id="376"/>
            <p14:sldId id="377"/>
            <p14:sldId id="356"/>
            <p14:sldId id="304"/>
            <p14:sldId id="319"/>
            <p14:sldId id="326"/>
            <p14:sldId id="323"/>
            <p14:sldId id="360"/>
            <p14:sldId id="327"/>
            <p14:sldId id="362"/>
            <p14:sldId id="363"/>
            <p14:sldId id="365"/>
            <p14:sldId id="329"/>
            <p14:sldId id="328"/>
            <p14:sldId id="341"/>
            <p14:sldId id="352"/>
            <p14:sldId id="358"/>
            <p14:sldId id="351"/>
            <p14:sldId id="353"/>
            <p14:sldId id="346"/>
            <p14:sldId id="367"/>
            <p14:sldId id="355"/>
          </p14:sldIdLst>
        </p14:section>
      </p14:sectionLst>
    </p:ext>
    <p:ext uri="{EFAFB233-063F-42B5-8137-9DF3F51BA10A}">
      <p15:sldGuideLst xmlns:p15="http://schemas.microsoft.com/office/powerpoint/2012/main">
        <p15:guide id="1" orient="horz" pos="981">
          <p15:clr>
            <a:srgbClr val="A4A3A4"/>
          </p15:clr>
        </p15:guide>
        <p15:guide id="2" orient="horz" pos="3838">
          <p15:clr>
            <a:srgbClr val="A4A3A4"/>
          </p15:clr>
        </p15:guide>
        <p15:guide id="3" orient="horz" pos="2478">
          <p15:clr>
            <a:srgbClr val="A4A3A4"/>
          </p15:clr>
        </p15:guide>
        <p15:guide id="4" orient="horz" pos="210">
          <p15:clr>
            <a:srgbClr val="A4A3A4"/>
          </p15:clr>
        </p15:guide>
        <p15:guide id="5" pos="158">
          <p15:clr>
            <a:srgbClr val="A4A3A4"/>
          </p15:clr>
        </p15:guide>
        <p15:guide id="6" pos="5602">
          <p15:clr>
            <a:srgbClr val="A4A3A4"/>
          </p15:clr>
        </p15:guide>
        <p15:guide id="7" pos="2880">
          <p15:clr>
            <a:srgbClr val="A4A3A4"/>
          </p15:clr>
        </p15:guide>
        <p15:guide id="8" pos="521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CB2B"/>
    <a:srgbClr val="92D050"/>
    <a:srgbClr val="558ED5"/>
    <a:srgbClr val="FFFFCC"/>
    <a:srgbClr val="F1F193"/>
    <a:srgbClr val="7B8B9C"/>
    <a:srgbClr val="004070"/>
    <a:srgbClr val="003C7D"/>
    <a:srgbClr val="F1F3F6"/>
    <a:srgbClr val="F8F9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37DBE9-BDFE-425C-9132-F83764AECBCE}" v="2" dt="2025-12-02T12:16:27.05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94694" autoAdjust="0"/>
  </p:normalViewPr>
  <p:slideViewPr>
    <p:cSldViewPr showGuides="1">
      <p:cViewPr varScale="1">
        <p:scale>
          <a:sx n="108" d="100"/>
          <a:sy n="108" d="100"/>
        </p:scale>
        <p:origin x="1752" y="102"/>
      </p:cViewPr>
      <p:guideLst>
        <p:guide orient="horz" pos="981"/>
        <p:guide orient="horz" pos="3838"/>
        <p:guide orient="horz" pos="2478"/>
        <p:guide orient="horz" pos="210"/>
        <p:guide pos="158"/>
        <p:guide pos="5602"/>
        <p:guide pos="2880"/>
        <p:guide pos="5216"/>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a Gottwald" userId="S::daniela.gottwald@ge-hiesfeld.de::41db045c-5c6f-4d76-a366-7d95afbbd3ca" providerId="AD" clId="Web-{5537DBE9-BDFE-425C-9132-F83764AECBCE}"/>
    <pc:docChg chg="addSld delSld modSection">
      <pc:chgData name="Daniela Gottwald" userId="S::daniela.gottwald@ge-hiesfeld.de::41db045c-5c6f-4d76-a366-7d95afbbd3ca" providerId="AD" clId="Web-{5537DBE9-BDFE-425C-9132-F83764AECBCE}" dt="2025-12-02T12:16:27.050" v="1"/>
      <pc:docMkLst>
        <pc:docMk/>
      </pc:docMkLst>
      <pc:sldChg chg="new del">
        <pc:chgData name="Daniela Gottwald" userId="S::daniela.gottwald@ge-hiesfeld.de::41db045c-5c6f-4d76-a366-7d95afbbd3ca" providerId="AD" clId="Web-{5537DBE9-BDFE-425C-9132-F83764AECBCE}" dt="2025-12-02T12:16:27.050" v="1"/>
        <pc:sldMkLst>
          <pc:docMk/>
          <pc:sldMk cId="1499777406" sldId="377"/>
        </pc:sldMkLst>
      </pc:sldChg>
    </pc:docChg>
  </pc:docChgLst>
</pc:chgInfo>
</file>

<file path=ppt/diagrams/_rels/data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image" Target="../media/image34.png"/></Relationships>
</file>

<file path=ppt/diagrams/_rels/drawing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image" Target="../media/image3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69B691-D592-4121-9F13-93700F8A11A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C88473E6-3740-4587-9A61-DB6DB2CA9EB9}">
      <dgm:prSet phldrT="[Text]"/>
      <dgm:spPr>
        <a:solidFill>
          <a:srgbClr val="FFC000"/>
        </a:solidFill>
      </dgm:spPr>
      <dgm:t>
        <a:bodyPr/>
        <a:lstStyle/>
        <a:p>
          <a:r>
            <a:rPr lang="de-DE" b="1" dirty="0">
              <a:solidFill>
                <a:schemeClr val="accent1">
                  <a:lumMod val="10000"/>
                </a:schemeClr>
              </a:solidFill>
            </a:rPr>
            <a:t>Erster Schulabschluss nach Klasse 9 (vormals Hauptschulabschluss)</a:t>
          </a:r>
        </a:p>
      </dgm:t>
    </dgm:pt>
    <dgm:pt modelId="{4B2C7CA2-2E8D-4B44-877A-6ACAB4568496}" type="parTrans" cxnId="{24A3996A-5C0E-4124-9112-DE2F7CCDD983}">
      <dgm:prSet/>
      <dgm:spPr/>
      <dgm:t>
        <a:bodyPr/>
        <a:lstStyle/>
        <a:p>
          <a:endParaRPr lang="de-DE"/>
        </a:p>
      </dgm:t>
    </dgm:pt>
    <dgm:pt modelId="{ED882261-1B6A-43D0-9846-FBD4F8EC9A9A}" type="sibTrans" cxnId="{24A3996A-5C0E-4124-9112-DE2F7CCDD983}">
      <dgm:prSet/>
      <dgm:spPr/>
      <dgm:t>
        <a:bodyPr/>
        <a:lstStyle/>
        <a:p>
          <a:endParaRPr lang="de-DE"/>
        </a:p>
      </dgm:t>
    </dgm:pt>
    <dgm:pt modelId="{3911FD4B-BED3-4923-BB2A-EEA7ACC2BF1A}">
      <dgm:prSet/>
      <dgm:spPr>
        <a:solidFill>
          <a:srgbClr val="92D050"/>
        </a:solidFill>
      </dgm:spPr>
      <dgm:t>
        <a:bodyPr/>
        <a:lstStyle/>
        <a:p>
          <a:r>
            <a:rPr lang="de-DE" b="1" dirty="0">
              <a:solidFill>
                <a:schemeClr val="accent1">
                  <a:lumMod val="10000"/>
                </a:schemeClr>
              </a:solidFill>
            </a:rPr>
            <a:t>Erweiterter Erster Schulabschluss nach Klasse 10 (vormals Hauptschulabschluss nach Klasse 10)</a:t>
          </a:r>
        </a:p>
      </dgm:t>
    </dgm:pt>
    <dgm:pt modelId="{3F3EFB65-B007-4B49-B4EF-899B5608AC72}" type="parTrans" cxnId="{22211674-F9E6-458E-B5D0-45B9D6E025B7}">
      <dgm:prSet/>
      <dgm:spPr/>
      <dgm:t>
        <a:bodyPr/>
        <a:lstStyle/>
        <a:p>
          <a:endParaRPr lang="de-DE"/>
        </a:p>
      </dgm:t>
    </dgm:pt>
    <dgm:pt modelId="{6E4D5A44-BBB6-4BC6-8A46-4041F91FBF48}" type="sibTrans" cxnId="{22211674-F9E6-458E-B5D0-45B9D6E025B7}">
      <dgm:prSet/>
      <dgm:spPr/>
      <dgm:t>
        <a:bodyPr/>
        <a:lstStyle/>
        <a:p>
          <a:endParaRPr lang="de-DE"/>
        </a:p>
      </dgm:t>
    </dgm:pt>
    <dgm:pt modelId="{FA6E1903-2540-4C52-9611-4C950E563BE6}">
      <dgm:prSet/>
      <dgm:spPr>
        <a:solidFill>
          <a:srgbClr val="92D050"/>
        </a:solidFill>
      </dgm:spPr>
      <dgm:t>
        <a:bodyPr/>
        <a:lstStyle/>
        <a:p>
          <a:r>
            <a:rPr lang="de-DE" b="1" dirty="0">
              <a:solidFill>
                <a:schemeClr val="accent1">
                  <a:lumMod val="10000"/>
                </a:schemeClr>
              </a:solidFill>
            </a:rPr>
            <a:t>Mittlerer Schulabschluss Fachoberschulreife mit Qualifikation (FORQ)</a:t>
          </a:r>
        </a:p>
      </dgm:t>
    </dgm:pt>
    <dgm:pt modelId="{D606F67E-0EB2-4BB9-9308-D001F330A376}" type="parTrans" cxnId="{69D5CF81-90C3-4FC1-86F0-17012F2E3D83}">
      <dgm:prSet/>
      <dgm:spPr/>
      <dgm:t>
        <a:bodyPr/>
        <a:lstStyle/>
        <a:p>
          <a:endParaRPr lang="de-DE"/>
        </a:p>
      </dgm:t>
    </dgm:pt>
    <dgm:pt modelId="{2A2E019A-FFBD-426E-870C-151C8574CB78}" type="sibTrans" cxnId="{69D5CF81-90C3-4FC1-86F0-17012F2E3D83}">
      <dgm:prSet/>
      <dgm:spPr/>
      <dgm:t>
        <a:bodyPr/>
        <a:lstStyle/>
        <a:p>
          <a:endParaRPr lang="de-DE"/>
        </a:p>
      </dgm:t>
    </dgm:pt>
    <dgm:pt modelId="{9379EF52-31B7-4D2B-B843-00F5D75545BD}">
      <dgm:prSet/>
      <dgm:spPr>
        <a:solidFill>
          <a:srgbClr val="92D050"/>
        </a:solidFill>
      </dgm:spPr>
      <dgm:t>
        <a:bodyPr/>
        <a:lstStyle/>
        <a:p>
          <a:r>
            <a:rPr lang="de-DE" b="1" dirty="0">
              <a:solidFill>
                <a:schemeClr val="accent1">
                  <a:lumMod val="10000"/>
                </a:schemeClr>
              </a:solidFill>
            </a:rPr>
            <a:t>Mittlerer Schulabschluss Fachoberschulreife (FOR)</a:t>
          </a:r>
        </a:p>
      </dgm:t>
    </dgm:pt>
    <dgm:pt modelId="{DC3666FE-AE79-4E97-9988-A81242C4553A}" type="parTrans" cxnId="{4338868B-D4D1-40FB-BC33-73A3D52F0738}">
      <dgm:prSet/>
      <dgm:spPr/>
      <dgm:t>
        <a:bodyPr/>
        <a:lstStyle/>
        <a:p>
          <a:endParaRPr lang="de-DE"/>
        </a:p>
      </dgm:t>
    </dgm:pt>
    <dgm:pt modelId="{2981B34C-193A-4469-99FF-0580F2456A0C}" type="sibTrans" cxnId="{4338868B-D4D1-40FB-BC33-73A3D52F0738}">
      <dgm:prSet/>
      <dgm:spPr/>
      <dgm:t>
        <a:bodyPr/>
        <a:lstStyle/>
        <a:p>
          <a:endParaRPr lang="de-DE"/>
        </a:p>
      </dgm:t>
    </dgm:pt>
    <dgm:pt modelId="{E0EAE3B5-887D-4CC3-B31E-90479CCA9B2E}">
      <dgm:prSet/>
      <dgm:spPr>
        <a:solidFill>
          <a:srgbClr val="558ED5"/>
        </a:solidFill>
      </dgm:spPr>
      <dgm:t>
        <a:bodyPr/>
        <a:lstStyle/>
        <a:p>
          <a:r>
            <a:rPr lang="de-DE" b="1" dirty="0">
              <a:solidFill>
                <a:schemeClr val="accent1">
                  <a:lumMod val="10000"/>
                </a:schemeClr>
              </a:solidFill>
            </a:rPr>
            <a:t>Abitur nach Klasse 13</a:t>
          </a:r>
        </a:p>
      </dgm:t>
    </dgm:pt>
    <dgm:pt modelId="{65B5E76B-9F67-4C31-8B37-A93FD082567C}" type="parTrans" cxnId="{1E9F456F-6473-46B0-8987-601710976825}">
      <dgm:prSet/>
      <dgm:spPr/>
      <dgm:t>
        <a:bodyPr/>
        <a:lstStyle/>
        <a:p>
          <a:endParaRPr lang="de-DE"/>
        </a:p>
      </dgm:t>
    </dgm:pt>
    <dgm:pt modelId="{638F2C1F-50C7-44F8-87BF-25B55FA3BA08}" type="sibTrans" cxnId="{1E9F456F-6473-46B0-8987-601710976825}">
      <dgm:prSet/>
      <dgm:spPr/>
      <dgm:t>
        <a:bodyPr/>
        <a:lstStyle/>
        <a:p>
          <a:endParaRPr lang="de-DE"/>
        </a:p>
      </dgm:t>
    </dgm:pt>
    <dgm:pt modelId="{79721D0A-614D-48BD-B880-A2245A47152B}">
      <dgm:prSet/>
      <dgm:spPr>
        <a:solidFill>
          <a:srgbClr val="558ED5"/>
        </a:solidFill>
      </dgm:spPr>
      <dgm:t>
        <a:bodyPr/>
        <a:lstStyle/>
        <a:p>
          <a:r>
            <a:rPr lang="de-DE" b="1" dirty="0">
              <a:solidFill>
                <a:schemeClr val="accent1">
                  <a:lumMod val="10000"/>
                </a:schemeClr>
              </a:solidFill>
            </a:rPr>
            <a:t>Fachhochschulreife nach Klasse 12 bzw. 13</a:t>
          </a:r>
        </a:p>
      </dgm:t>
    </dgm:pt>
    <dgm:pt modelId="{90E2A9D7-7CBD-44E6-8C9A-205C0FED0012}" type="parTrans" cxnId="{8527182C-61F2-434E-9960-325BF50C4234}">
      <dgm:prSet/>
      <dgm:spPr/>
      <dgm:t>
        <a:bodyPr/>
        <a:lstStyle/>
        <a:p>
          <a:endParaRPr lang="de-DE"/>
        </a:p>
      </dgm:t>
    </dgm:pt>
    <dgm:pt modelId="{E79FD366-5610-48E7-82E1-23D0AA336160}" type="sibTrans" cxnId="{8527182C-61F2-434E-9960-325BF50C4234}">
      <dgm:prSet/>
      <dgm:spPr/>
      <dgm:t>
        <a:bodyPr/>
        <a:lstStyle/>
        <a:p>
          <a:endParaRPr lang="de-DE"/>
        </a:p>
      </dgm:t>
    </dgm:pt>
    <dgm:pt modelId="{BAECB98E-A090-4052-8B75-890FCB0D5C6C}" type="pres">
      <dgm:prSet presAssocID="{CC69B691-D592-4121-9F13-93700F8A11AB}" presName="linear" presStyleCnt="0">
        <dgm:presLayoutVars>
          <dgm:dir/>
          <dgm:animLvl val="lvl"/>
          <dgm:resizeHandles val="exact"/>
        </dgm:presLayoutVars>
      </dgm:prSet>
      <dgm:spPr/>
      <dgm:t>
        <a:bodyPr/>
        <a:lstStyle/>
        <a:p>
          <a:endParaRPr lang="de-DE"/>
        </a:p>
      </dgm:t>
    </dgm:pt>
    <dgm:pt modelId="{9B15F6D9-E88B-4330-9CA6-F639F8432D6B}" type="pres">
      <dgm:prSet presAssocID="{C88473E6-3740-4587-9A61-DB6DB2CA9EB9}" presName="parentLin" presStyleCnt="0"/>
      <dgm:spPr/>
    </dgm:pt>
    <dgm:pt modelId="{392CFA04-80D4-4A40-853F-879D685E877B}" type="pres">
      <dgm:prSet presAssocID="{C88473E6-3740-4587-9A61-DB6DB2CA9EB9}" presName="parentLeftMargin" presStyleLbl="node1" presStyleIdx="0" presStyleCnt="6"/>
      <dgm:spPr/>
      <dgm:t>
        <a:bodyPr/>
        <a:lstStyle/>
        <a:p>
          <a:endParaRPr lang="de-DE"/>
        </a:p>
      </dgm:t>
    </dgm:pt>
    <dgm:pt modelId="{F115F7AE-F985-4F13-A7D6-224918A3542E}" type="pres">
      <dgm:prSet presAssocID="{C88473E6-3740-4587-9A61-DB6DB2CA9EB9}" presName="parentText" presStyleLbl="node1" presStyleIdx="0" presStyleCnt="6" custLinFactNeighborX="3116" custLinFactNeighborY="18068">
        <dgm:presLayoutVars>
          <dgm:chMax val="0"/>
          <dgm:bulletEnabled val="1"/>
        </dgm:presLayoutVars>
      </dgm:prSet>
      <dgm:spPr/>
      <dgm:t>
        <a:bodyPr/>
        <a:lstStyle/>
        <a:p>
          <a:endParaRPr lang="de-DE"/>
        </a:p>
      </dgm:t>
    </dgm:pt>
    <dgm:pt modelId="{6B2289FD-9A85-4405-838D-E64F04D2EAB6}" type="pres">
      <dgm:prSet presAssocID="{C88473E6-3740-4587-9A61-DB6DB2CA9EB9}" presName="negativeSpace" presStyleCnt="0"/>
      <dgm:spPr/>
    </dgm:pt>
    <dgm:pt modelId="{A7851B0B-BD1F-491E-8E5A-A73A56C0A6D1}" type="pres">
      <dgm:prSet presAssocID="{C88473E6-3740-4587-9A61-DB6DB2CA9EB9}" presName="childText" presStyleLbl="conFgAcc1" presStyleIdx="0" presStyleCnt="6">
        <dgm:presLayoutVars>
          <dgm:bulletEnabled val="1"/>
        </dgm:presLayoutVars>
      </dgm:prSet>
      <dgm:spPr>
        <a:ln>
          <a:solidFill>
            <a:schemeClr val="bg1"/>
          </a:solidFill>
        </a:ln>
      </dgm:spPr>
    </dgm:pt>
    <dgm:pt modelId="{8A580E77-EED8-4EEC-B61B-E2E912E7DBBD}" type="pres">
      <dgm:prSet presAssocID="{ED882261-1B6A-43D0-9846-FBD4F8EC9A9A}" presName="spaceBetweenRectangles" presStyleCnt="0"/>
      <dgm:spPr/>
    </dgm:pt>
    <dgm:pt modelId="{79F94912-739F-4A54-BCA9-B4BD08721A9F}" type="pres">
      <dgm:prSet presAssocID="{3911FD4B-BED3-4923-BB2A-EEA7ACC2BF1A}" presName="parentLin" presStyleCnt="0"/>
      <dgm:spPr/>
    </dgm:pt>
    <dgm:pt modelId="{7D5B441D-8D9C-4C91-A405-5A2F6CE9CE68}" type="pres">
      <dgm:prSet presAssocID="{3911FD4B-BED3-4923-BB2A-EEA7ACC2BF1A}" presName="parentLeftMargin" presStyleLbl="node1" presStyleIdx="0" presStyleCnt="6"/>
      <dgm:spPr/>
      <dgm:t>
        <a:bodyPr/>
        <a:lstStyle/>
        <a:p>
          <a:endParaRPr lang="de-DE"/>
        </a:p>
      </dgm:t>
    </dgm:pt>
    <dgm:pt modelId="{6E116C6D-C3F1-410F-9467-51C8960647DF}" type="pres">
      <dgm:prSet presAssocID="{3911FD4B-BED3-4923-BB2A-EEA7ACC2BF1A}" presName="parentText" presStyleLbl="node1" presStyleIdx="1" presStyleCnt="6">
        <dgm:presLayoutVars>
          <dgm:chMax val="0"/>
          <dgm:bulletEnabled val="1"/>
        </dgm:presLayoutVars>
      </dgm:prSet>
      <dgm:spPr/>
      <dgm:t>
        <a:bodyPr/>
        <a:lstStyle/>
        <a:p>
          <a:endParaRPr lang="de-DE"/>
        </a:p>
      </dgm:t>
    </dgm:pt>
    <dgm:pt modelId="{F5A86258-8909-45F8-90F1-CB46AF14DE41}" type="pres">
      <dgm:prSet presAssocID="{3911FD4B-BED3-4923-BB2A-EEA7ACC2BF1A}" presName="negativeSpace" presStyleCnt="0"/>
      <dgm:spPr/>
    </dgm:pt>
    <dgm:pt modelId="{5D1D06F3-EC05-42E9-BC38-1C405A98F122}" type="pres">
      <dgm:prSet presAssocID="{3911FD4B-BED3-4923-BB2A-EEA7ACC2BF1A}" presName="childText" presStyleLbl="conFgAcc1" presStyleIdx="1" presStyleCnt="6" custScaleX="81055">
        <dgm:presLayoutVars>
          <dgm:bulletEnabled val="1"/>
        </dgm:presLayoutVars>
      </dgm:prSet>
      <dgm:spPr>
        <a:ln>
          <a:solidFill>
            <a:schemeClr val="bg1"/>
          </a:solidFill>
        </a:ln>
      </dgm:spPr>
    </dgm:pt>
    <dgm:pt modelId="{3A33A4CD-CF98-4DD8-8C2D-D9687E547097}" type="pres">
      <dgm:prSet presAssocID="{6E4D5A44-BBB6-4BC6-8A46-4041F91FBF48}" presName="spaceBetweenRectangles" presStyleCnt="0"/>
      <dgm:spPr/>
    </dgm:pt>
    <dgm:pt modelId="{AF22DD3A-52F3-40DC-8171-2F5C1BCD3CEF}" type="pres">
      <dgm:prSet presAssocID="{9379EF52-31B7-4D2B-B843-00F5D75545BD}" presName="parentLin" presStyleCnt="0"/>
      <dgm:spPr/>
    </dgm:pt>
    <dgm:pt modelId="{9F475B0C-1C21-43B1-B1E5-32FD0CC86122}" type="pres">
      <dgm:prSet presAssocID="{9379EF52-31B7-4D2B-B843-00F5D75545BD}" presName="parentLeftMargin" presStyleLbl="node1" presStyleIdx="1" presStyleCnt="6"/>
      <dgm:spPr/>
      <dgm:t>
        <a:bodyPr/>
        <a:lstStyle/>
        <a:p>
          <a:endParaRPr lang="de-DE"/>
        </a:p>
      </dgm:t>
    </dgm:pt>
    <dgm:pt modelId="{B714440D-9598-4C8C-A8F3-E6186D243486}" type="pres">
      <dgm:prSet presAssocID="{9379EF52-31B7-4D2B-B843-00F5D75545BD}" presName="parentText" presStyleLbl="node1" presStyleIdx="2" presStyleCnt="6">
        <dgm:presLayoutVars>
          <dgm:chMax val="0"/>
          <dgm:bulletEnabled val="1"/>
        </dgm:presLayoutVars>
      </dgm:prSet>
      <dgm:spPr/>
      <dgm:t>
        <a:bodyPr/>
        <a:lstStyle/>
        <a:p>
          <a:endParaRPr lang="de-DE"/>
        </a:p>
      </dgm:t>
    </dgm:pt>
    <dgm:pt modelId="{EE2DF002-B2F4-4018-A047-E70CB73356A7}" type="pres">
      <dgm:prSet presAssocID="{9379EF52-31B7-4D2B-B843-00F5D75545BD}" presName="negativeSpace" presStyleCnt="0"/>
      <dgm:spPr/>
    </dgm:pt>
    <dgm:pt modelId="{3F74401E-4840-4EFD-989E-41B4CE44E743}" type="pres">
      <dgm:prSet presAssocID="{9379EF52-31B7-4D2B-B843-00F5D75545BD}" presName="childText" presStyleLbl="conFgAcc1" presStyleIdx="2" presStyleCnt="6" custScaleX="93685">
        <dgm:presLayoutVars>
          <dgm:bulletEnabled val="1"/>
        </dgm:presLayoutVars>
      </dgm:prSet>
      <dgm:spPr>
        <a:noFill/>
        <a:ln>
          <a:solidFill>
            <a:schemeClr val="bg1"/>
          </a:solidFill>
        </a:ln>
      </dgm:spPr>
    </dgm:pt>
    <dgm:pt modelId="{0B9A4EE8-3FEE-4710-AE8E-EB3F57B5C140}" type="pres">
      <dgm:prSet presAssocID="{2981B34C-193A-4469-99FF-0580F2456A0C}" presName="spaceBetweenRectangles" presStyleCnt="0"/>
      <dgm:spPr/>
    </dgm:pt>
    <dgm:pt modelId="{22BEC193-127D-452F-83FE-9E66CCF2D11E}" type="pres">
      <dgm:prSet presAssocID="{FA6E1903-2540-4C52-9611-4C950E563BE6}" presName="parentLin" presStyleCnt="0"/>
      <dgm:spPr/>
    </dgm:pt>
    <dgm:pt modelId="{0DADDD76-16BD-4C92-BB7B-90FC338A6196}" type="pres">
      <dgm:prSet presAssocID="{FA6E1903-2540-4C52-9611-4C950E563BE6}" presName="parentLeftMargin" presStyleLbl="node1" presStyleIdx="2" presStyleCnt="6"/>
      <dgm:spPr/>
      <dgm:t>
        <a:bodyPr/>
        <a:lstStyle/>
        <a:p>
          <a:endParaRPr lang="de-DE"/>
        </a:p>
      </dgm:t>
    </dgm:pt>
    <dgm:pt modelId="{D5ECC9F3-ED60-421A-8AAE-D731B9E0CE6A}" type="pres">
      <dgm:prSet presAssocID="{FA6E1903-2540-4C52-9611-4C950E563BE6}" presName="parentText" presStyleLbl="node1" presStyleIdx="3" presStyleCnt="6">
        <dgm:presLayoutVars>
          <dgm:chMax val="0"/>
          <dgm:bulletEnabled val="1"/>
        </dgm:presLayoutVars>
      </dgm:prSet>
      <dgm:spPr/>
      <dgm:t>
        <a:bodyPr/>
        <a:lstStyle/>
        <a:p>
          <a:endParaRPr lang="de-DE"/>
        </a:p>
      </dgm:t>
    </dgm:pt>
    <dgm:pt modelId="{8A26DBF8-3F81-4962-A632-B9CA2A3901AE}" type="pres">
      <dgm:prSet presAssocID="{FA6E1903-2540-4C52-9611-4C950E563BE6}" presName="negativeSpace" presStyleCnt="0"/>
      <dgm:spPr/>
    </dgm:pt>
    <dgm:pt modelId="{64D07EC6-F0AE-4DB7-AD5E-216A192551A0}" type="pres">
      <dgm:prSet presAssocID="{FA6E1903-2540-4C52-9611-4C950E563BE6}" presName="childText" presStyleLbl="conFgAcc1" presStyleIdx="3" presStyleCnt="6">
        <dgm:presLayoutVars>
          <dgm:bulletEnabled val="1"/>
        </dgm:presLayoutVars>
      </dgm:prSet>
      <dgm:spPr>
        <a:ln>
          <a:solidFill>
            <a:schemeClr val="bg1"/>
          </a:solidFill>
        </a:ln>
      </dgm:spPr>
    </dgm:pt>
    <dgm:pt modelId="{3B3E7BD4-6A44-4F05-AFB4-D0375EC02705}" type="pres">
      <dgm:prSet presAssocID="{2A2E019A-FFBD-426E-870C-151C8574CB78}" presName="spaceBetweenRectangles" presStyleCnt="0"/>
      <dgm:spPr/>
    </dgm:pt>
    <dgm:pt modelId="{ED679CCA-D7B7-446F-8C39-F03D3ECAE362}" type="pres">
      <dgm:prSet presAssocID="{79721D0A-614D-48BD-B880-A2245A47152B}" presName="parentLin" presStyleCnt="0"/>
      <dgm:spPr/>
    </dgm:pt>
    <dgm:pt modelId="{7FF2E794-93EC-454D-9BAD-EC6431A25613}" type="pres">
      <dgm:prSet presAssocID="{79721D0A-614D-48BD-B880-A2245A47152B}" presName="parentLeftMargin" presStyleLbl="node1" presStyleIdx="3" presStyleCnt="6"/>
      <dgm:spPr/>
      <dgm:t>
        <a:bodyPr/>
        <a:lstStyle/>
        <a:p>
          <a:endParaRPr lang="de-DE"/>
        </a:p>
      </dgm:t>
    </dgm:pt>
    <dgm:pt modelId="{EBEAA736-8A33-4388-95E3-EA8CCEEC9A04}" type="pres">
      <dgm:prSet presAssocID="{79721D0A-614D-48BD-B880-A2245A47152B}" presName="parentText" presStyleLbl="node1" presStyleIdx="4" presStyleCnt="6">
        <dgm:presLayoutVars>
          <dgm:chMax val="0"/>
          <dgm:bulletEnabled val="1"/>
        </dgm:presLayoutVars>
      </dgm:prSet>
      <dgm:spPr/>
      <dgm:t>
        <a:bodyPr/>
        <a:lstStyle/>
        <a:p>
          <a:endParaRPr lang="de-DE"/>
        </a:p>
      </dgm:t>
    </dgm:pt>
    <dgm:pt modelId="{E5B7852C-E6A9-407F-9C36-B75CB77B2927}" type="pres">
      <dgm:prSet presAssocID="{79721D0A-614D-48BD-B880-A2245A47152B}" presName="negativeSpace" presStyleCnt="0"/>
      <dgm:spPr/>
    </dgm:pt>
    <dgm:pt modelId="{676C0482-5D08-4197-BCDB-9F3C6750B786}" type="pres">
      <dgm:prSet presAssocID="{79721D0A-614D-48BD-B880-A2245A47152B}" presName="childText" presStyleLbl="conFgAcc1" presStyleIdx="4" presStyleCnt="6">
        <dgm:presLayoutVars>
          <dgm:bulletEnabled val="1"/>
        </dgm:presLayoutVars>
      </dgm:prSet>
      <dgm:spPr>
        <a:ln>
          <a:solidFill>
            <a:schemeClr val="bg1"/>
          </a:solidFill>
        </a:ln>
      </dgm:spPr>
    </dgm:pt>
    <dgm:pt modelId="{439B18E2-E09A-415B-B62D-BE16023FBC9F}" type="pres">
      <dgm:prSet presAssocID="{E79FD366-5610-48E7-82E1-23D0AA336160}" presName="spaceBetweenRectangles" presStyleCnt="0"/>
      <dgm:spPr/>
    </dgm:pt>
    <dgm:pt modelId="{87C8B786-9B1C-462B-8731-D42A615FDAC4}" type="pres">
      <dgm:prSet presAssocID="{E0EAE3B5-887D-4CC3-B31E-90479CCA9B2E}" presName="parentLin" presStyleCnt="0"/>
      <dgm:spPr/>
    </dgm:pt>
    <dgm:pt modelId="{EB00290F-DB6E-40B5-9310-A5C28A7EFD22}" type="pres">
      <dgm:prSet presAssocID="{E0EAE3B5-887D-4CC3-B31E-90479CCA9B2E}" presName="parentLeftMargin" presStyleLbl="node1" presStyleIdx="4" presStyleCnt="6"/>
      <dgm:spPr/>
      <dgm:t>
        <a:bodyPr/>
        <a:lstStyle/>
        <a:p>
          <a:endParaRPr lang="de-DE"/>
        </a:p>
      </dgm:t>
    </dgm:pt>
    <dgm:pt modelId="{A3D82B3D-778B-4918-9DEC-D001F7CA1707}" type="pres">
      <dgm:prSet presAssocID="{E0EAE3B5-887D-4CC3-B31E-90479CCA9B2E}" presName="parentText" presStyleLbl="node1" presStyleIdx="5" presStyleCnt="6">
        <dgm:presLayoutVars>
          <dgm:chMax val="0"/>
          <dgm:bulletEnabled val="1"/>
        </dgm:presLayoutVars>
      </dgm:prSet>
      <dgm:spPr/>
      <dgm:t>
        <a:bodyPr/>
        <a:lstStyle/>
        <a:p>
          <a:endParaRPr lang="de-DE"/>
        </a:p>
      </dgm:t>
    </dgm:pt>
    <dgm:pt modelId="{6B7F4720-C694-42B8-A7B5-B3B248AB6FC3}" type="pres">
      <dgm:prSet presAssocID="{E0EAE3B5-887D-4CC3-B31E-90479CCA9B2E}" presName="negativeSpace" presStyleCnt="0"/>
      <dgm:spPr/>
    </dgm:pt>
    <dgm:pt modelId="{438AF10D-58D8-4D31-ABAF-3FB766B49CD0}" type="pres">
      <dgm:prSet presAssocID="{E0EAE3B5-887D-4CC3-B31E-90479CCA9B2E}" presName="childText" presStyleLbl="conFgAcc1" presStyleIdx="5" presStyleCnt="6">
        <dgm:presLayoutVars>
          <dgm:bulletEnabled val="1"/>
        </dgm:presLayoutVars>
      </dgm:prSet>
      <dgm:spPr>
        <a:ln>
          <a:solidFill>
            <a:schemeClr val="bg1"/>
          </a:solidFill>
        </a:ln>
      </dgm:spPr>
    </dgm:pt>
  </dgm:ptLst>
  <dgm:cxnLst>
    <dgm:cxn modelId="{BA74FE19-1128-4447-B6AE-70C672F8802F}" type="presOf" srcId="{E0EAE3B5-887D-4CC3-B31E-90479CCA9B2E}" destId="{EB00290F-DB6E-40B5-9310-A5C28A7EFD22}" srcOrd="0" destOrd="0" presId="urn:microsoft.com/office/officeart/2005/8/layout/list1"/>
    <dgm:cxn modelId="{EC7F870B-2289-4F9B-8F6A-D0D5C432CBF5}" type="presOf" srcId="{3911FD4B-BED3-4923-BB2A-EEA7ACC2BF1A}" destId="{6E116C6D-C3F1-410F-9467-51C8960647DF}" srcOrd="1" destOrd="0" presId="urn:microsoft.com/office/officeart/2005/8/layout/list1"/>
    <dgm:cxn modelId="{22211674-F9E6-458E-B5D0-45B9D6E025B7}" srcId="{CC69B691-D592-4121-9F13-93700F8A11AB}" destId="{3911FD4B-BED3-4923-BB2A-EEA7ACC2BF1A}" srcOrd="1" destOrd="0" parTransId="{3F3EFB65-B007-4B49-B4EF-899B5608AC72}" sibTransId="{6E4D5A44-BBB6-4BC6-8A46-4041F91FBF48}"/>
    <dgm:cxn modelId="{07BB7A74-F410-4867-8304-D13D86201FC5}" type="presOf" srcId="{79721D0A-614D-48BD-B880-A2245A47152B}" destId="{7FF2E794-93EC-454D-9BAD-EC6431A25613}" srcOrd="0" destOrd="0" presId="urn:microsoft.com/office/officeart/2005/8/layout/list1"/>
    <dgm:cxn modelId="{3FFA85FF-CDD1-4C6D-8210-A418A4611684}" type="presOf" srcId="{FA6E1903-2540-4C52-9611-4C950E563BE6}" destId="{0DADDD76-16BD-4C92-BB7B-90FC338A6196}" srcOrd="0" destOrd="0" presId="urn:microsoft.com/office/officeart/2005/8/layout/list1"/>
    <dgm:cxn modelId="{DE444DEC-28FC-43F9-9218-8F66777678E4}" type="presOf" srcId="{E0EAE3B5-887D-4CC3-B31E-90479CCA9B2E}" destId="{A3D82B3D-778B-4918-9DEC-D001F7CA1707}" srcOrd="1" destOrd="0" presId="urn:microsoft.com/office/officeart/2005/8/layout/list1"/>
    <dgm:cxn modelId="{2BE2AE99-14A6-4A56-B3C0-83AD3BEA188D}" type="presOf" srcId="{C88473E6-3740-4587-9A61-DB6DB2CA9EB9}" destId="{F115F7AE-F985-4F13-A7D6-224918A3542E}" srcOrd="1" destOrd="0" presId="urn:microsoft.com/office/officeart/2005/8/layout/list1"/>
    <dgm:cxn modelId="{4338868B-D4D1-40FB-BC33-73A3D52F0738}" srcId="{CC69B691-D592-4121-9F13-93700F8A11AB}" destId="{9379EF52-31B7-4D2B-B843-00F5D75545BD}" srcOrd="2" destOrd="0" parTransId="{DC3666FE-AE79-4E97-9988-A81242C4553A}" sibTransId="{2981B34C-193A-4469-99FF-0580F2456A0C}"/>
    <dgm:cxn modelId="{F1ED30A9-CB4E-44F0-A44D-DFF4637231D5}" type="presOf" srcId="{FA6E1903-2540-4C52-9611-4C950E563BE6}" destId="{D5ECC9F3-ED60-421A-8AAE-D731B9E0CE6A}" srcOrd="1" destOrd="0" presId="urn:microsoft.com/office/officeart/2005/8/layout/list1"/>
    <dgm:cxn modelId="{D84E74AD-6168-4CF3-AF0A-F03EA5305D02}" type="presOf" srcId="{9379EF52-31B7-4D2B-B843-00F5D75545BD}" destId="{B714440D-9598-4C8C-A8F3-E6186D243486}" srcOrd="1" destOrd="0" presId="urn:microsoft.com/office/officeart/2005/8/layout/list1"/>
    <dgm:cxn modelId="{8527182C-61F2-434E-9960-325BF50C4234}" srcId="{CC69B691-D592-4121-9F13-93700F8A11AB}" destId="{79721D0A-614D-48BD-B880-A2245A47152B}" srcOrd="4" destOrd="0" parTransId="{90E2A9D7-7CBD-44E6-8C9A-205C0FED0012}" sibTransId="{E79FD366-5610-48E7-82E1-23D0AA336160}"/>
    <dgm:cxn modelId="{24A3996A-5C0E-4124-9112-DE2F7CCDD983}" srcId="{CC69B691-D592-4121-9F13-93700F8A11AB}" destId="{C88473E6-3740-4587-9A61-DB6DB2CA9EB9}" srcOrd="0" destOrd="0" parTransId="{4B2C7CA2-2E8D-4B44-877A-6ACAB4568496}" sibTransId="{ED882261-1B6A-43D0-9846-FBD4F8EC9A9A}"/>
    <dgm:cxn modelId="{1E9F456F-6473-46B0-8987-601710976825}" srcId="{CC69B691-D592-4121-9F13-93700F8A11AB}" destId="{E0EAE3B5-887D-4CC3-B31E-90479CCA9B2E}" srcOrd="5" destOrd="0" parTransId="{65B5E76B-9F67-4C31-8B37-A93FD082567C}" sibTransId="{638F2C1F-50C7-44F8-87BF-25B55FA3BA08}"/>
    <dgm:cxn modelId="{FA5CDE53-AAFE-45C3-8343-27F175704624}" type="presOf" srcId="{3911FD4B-BED3-4923-BB2A-EEA7ACC2BF1A}" destId="{7D5B441D-8D9C-4C91-A405-5A2F6CE9CE68}" srcOrd="0" destOrd="0" presId="urn:microsoft.com/office/officeart/2005/8/layout/list1"/>
    <dgm:cxn modelId="{D3FF0F6F-0245-4866-A623-09A6EAE82556}" type="presOf" srcId="{CC69B691-D592-4121-9F13-93700F8A11AB}" destId="{BAECB98E-A090-4052-8B75-890FCB0D5C6C}" srcOrd="0" destOrd="0" presId="urn:microsoft.com/office/officeart/2005/8/layout/list1"/>
    <dgm:cxn modelId="{A054BF43-2409-412D-8F74-96F34A5B9651}" type="presOf" srcId="{9379EF52-31B7-4D2B-B843-00F5D75545BD}" destId="{9F475B0C-1C21-43B1-B1E5-32FD0CC86122}" srcOrd="0" destOrd="0" presId="urn:microsoft.com/office/officeart/2005/8/layout/list1"/>
    <dgm:cxn modelId="{7A4A5BD7-23D7-437F-B9D7-F088E4F8C43F}" type="presOf" srcId="{C88473E6-3740-4587-9A61-DB6DB2CA9EB9}" destId="{392CFA04-80D4-4A40-853F-879D685E877B}" srcOrd="0" destOrd="0" presId="urn:microsoft.com/office/officeart/2005/8/layout/list1"/>
    <dgm:cxn modelId="{82CC9B59-F78F-4E59-91DB-4A81274607A8}" type="presOf" srcId="{79721D0A-614D-48BD-B880-A2245A47152B}" destId="{EBEAA736-8A33-4388-95E3-EA8CCEEC9A04}" srcOrd="1" destOrd="0" presId="urn:microsoft.com/office/officeart/2005/8/layout/list1"/>
    <dgm:cxn modelId="{69D5CF81-90C3-4FC1-86F0-17012F2E3D83}" srcId="{CC69B691-D592-4121-9F13-93700F8A11AB}" destId="{FA6E1903-2540-4C52-9611-4C950E563BE6}" srcOrd="3" destOrd="0" parTransId="{D606F67E-0EB2-4BB9-9308-D001F330A376}" sibTransId="{2A2E019A-FFBD-426E-870C-151C8574CB78}"/>
    <dgm:cxn modelId="{4921DBC0-509A-4C8F-9296-444789EA402B}" type="presParOf" srcId="{BAECB98E-A090-4052-8B75-890FCB0D5C6C}" destId="{9B15F6D9-E88B-4330-9CA6-F639F8432D6B}" srcOrd="0" destOrd="0" presId="urn:microsoft.com/office/officeart/2005/8/layout/list1"/>
    <dgm:cxn modelId="{6624A65F-D351-44D9-99D0-23D3C0EB181C}" type="presParOf" srcId="{9B15F6D9-E88B-4330-9CA6-F639F8432D6B}" destId="{392CFA04-80D4-4A40-853F-879D685E877B}" srcOrd="0" destOrd="0" presId="urn:microsoft.com/office/officeart/2005/8/layout/list1"/>
    <dgm:cxn modelId="{FBE0C593-D2A3-4FD5-82F1-988276E94218}" type="presParOf" srcId="{9B15F6D9-E88B-4330-9CA6-F639F8432D6B}" destId="{F115F7AE-F985-4F13-A7D6-224918A3542E}" srcOrd="1" destOrd="0" presId="urn:microsoft.com/office/officeart/2005/8/layout/list1"/>
    <dgm:cxn modelId="{D0D4E609-D241-453A-B82C-3230A1F898CD}" type="presParOf" srcId="{BAECB98E-A090-4052-8B75-890FCB0D5C6C}" destId="{6B2289FD-9A85-4405-838D-E64F04D2EAB6}" srcOrd="1" destOrd="0" presId="urn:microsoft.com/office/officeart/2005/8/layout/list1"/>
    <dgm:cxn modelId="{94B60DE8-9361-4DBE-BB22-26B2B756DAF9}" type="presParOf" srcId="{BAECB98E-A090-4052-8B75-890FCB0D5C6C}" destId="{A7851B0B-BD1F-491E-8E5A-A73A56C0A6D1}" srcOrd="2" destOrd="0" presId="urn:microsoft.com/office/officeart/2005/8/layout/list1"/>
    <dgm:cxn modelId="{1CA90C11-08F3-4541-8AAE-4D95D6F3393D}" type="presParOf" srcId="{BAECB98E-A090-4052-8B75-890FCB0D5C6C}" destId="{8A580E77-EED8-4EEC-B61B-E2E912E7DBBD}" srcOrd="3" destOrd="0" presId="urn:microsoft.com/office/officeart/2005/8/layout/list1"/>
    <dgm:cxn modelId="{52B4EC52-6A72-4BA9-89F8-BACC59185B4E}" type="presParOf" srcId="{BAECB98E-A090-4052-8B75-890FCB0D5C6C}" destId="{79F94912-739F-4A54-BCA9-B4BD08721A9F}" srcOrd="4" destOrd="0" presId="urn:microsoft.com/office/officeart/2005/8/layout/list1"/>
    <dgm:cxn modelId="{88A1FDBE-EE91-4EBC-AF7F-2E908EAF63C7}" type="presParOf" srcId="{79F94912-739F-4A54-BCA9-B4BD08721A9F}" destId="{7D5B441D-8D9C-4C91-A405-5A2F6CE9CE68}" srcOrd="0" destOrd="0" presId="urn:microsoft.com/office/officeart/2005/8/layout/list1"/>
    <dgm:cxn modelId="{A3D5916F-4A0F-47F3-BBF3-F34DEBD17FB3}" type="presParOf" srcId="{79F94912-739F-4A54-BCA9-B4BD08721A9F}" destId="{6E116C6D-C3F1-410F-9467-51C8960647DF}" srcOrd="1" destOrd="0" presId="urn:microsoft.com/office/officeart/2005/8/layout/list1"/>
    <dgm:cxn modelId="{9A4B0C3E-D0EE-417F-9D0B-B400CFDF519C}" type="presParOf" srcId="{BAECB98E-A090-4052-8B75-890FCB0D5C6C}" destId="{F5A86258-8909-45F8-90F1-CB46AF14DE41}" srcOrd="5" destOrd="0" presId="urn:microsoft.com/office/officeart/2005/8/layout/list1"/>
    <dgm:cxn modelId="{3EE06DB6-F66C-4852-BBC2-137D0A18B089}" type="presParOf" srcId="{BAECB98E-A090-4052-8B75-890FCB0D5C6C}" destId="{5D1D06F3-EC05-42E9-BC38-1C405A98F122}" srcOrd="6" destOrd="0" presId="urn:microsoft.com/office/officeart/2005/8/layout/list1"/>
    <dgm:cxn modelId="{F7C79B49-CDE5-4FC1-AC03-48159012EFD0}" type="presParOf" srcId="{BAECB98E-A090-4052-8B75-890FCB0D5C6C}" destId="{3A33A4CD-CF98-4DD8-8C2D-D9687E547097}" srcOrd="7" destOrd="0" presId="urn:microsoft.com/office/officeart/2005/8/layout/list1"/>
    <dgm:cxn modelId="{65686A3D-A269-49B4-876B-2B39DE5C0676}" type="presParOf" srcId="{BAECB98E-A090-4052-8B75-890FCB0D5C6C}" destId="{AF22DD3A-52F3-40DC-8171-2F5C1BCD3CEF}" srcOrd="8" destOrd="0" presId="urn:microsoft.com/office/officeart/2005/8/layout/list1"/>
    <dgm:cxn modelId="{D96D9D24-246D-4A4E-8E42-775EF9B59A55}" type="presParOf" srcId="{AF22DD3A-52F3-40DC-8171-2F5C1BCD3CEF}" destId="{9F475B0C-1C21-43B1-B1E5-32FD0CC86122}" srcOrd="0" destOrd="0" presId="urn:microsoft.com/office/officeart/2005/8/layout/list1"/>
    <dgm:cxn modelId="{785C477B-827A-4848-9E10-A975B750C537}" type="presParOf" srcId="{AF22DD3A-52F3-40DC-8171-2F5C1BCD3CEF}" destId="{B714440D-9598-4C8C-A8F3-E6186D243486}" srcOrd="1" destOrd="0" presId="urn:microsoft.com/office/officeart/2005/8/layout/list1"/>
    <dgm:cxn modelId="{C3BBEFFD-E257-4411-995F-F52D6198BFC3}" type="presParOf" srcId="{BAECB98E-A090-4052-8B75-890FCB0D5C6C}" destId="{EE2DF002-B2F4-4018-A047-E70CB73356A7}" srcOrd="9" destOrd="0" presId="urn:microsoft.com/office/officeart/2005/8/layout/list1"/>
    <dgm:cxn modelId="{8831F78E-18B1-4F5A-9C1D-BB8D66F5F45D}" type="presParOf" srcId="{BAECB98E-A090-4052-8B75-890FCB0D5C6C}" destId="{3F74401E-4840-4EFD-989E-41B4CE44E743}" srcOrd="10" destOrd="0" presId="urn:microsoft.com/office/officeart/2005/8/layout/list1"/>
    <dgm:cxn modelId="{07F83DCD-65AA-436F-9ECC-CE5CE6B43841}" type="presParOf" srcId="{BAECB98E-A090-4052-8B75-890FCB0D5C6C}" destId="{0B9A4EE8-3FEE-4710-AE8E-EB3F57B5C140}" srcOrd="11" destOrd="0" presId="urn:microsoft.com/office/officeart/2005/8/layout/list1"/>
    <dgm:cxn modelId="{D42D4EF4-5778-4612-830B-9604C6ECF92A}" type="presParOf" srcId="{BAECB98E-A090-4052-8B75-890FCB0D5C6C}" destId="{22BEC193-127D-452F-83FE-9E66CCF2D11E}" srcOrd="12" destOrd="0" presId="urn:microsoft.com/office/officeart/2005/8/layout/list1"/>
    <dgm:cxn modelId="{A5FAD599-AC43-4F83-8E87-08121C41A1CC}" type="presParOf" srcId="{22BEC193-127D-452F-83FE-9E66CCF2D11E}" destId="{0DADDD76-16BD-4C92-BB7B-90FC338A6196}" srcOrd="0" destOrd="0" presId="urn:microsoft.com/office/officeart/2005/8/layout/list1"/>
    <dgm:cxn modelId="{E47BCDF5-2685-429E-870A-357EE96B04E6}" type="presParOf" srcId="{22BEC193-127D-452F-83FE-9E66CCF2D11E}" destId="{D5ECC9F3-ED60-421A-8AAE-D731B9E0CE6A}" srcOrd="1" destOrd="0" presId="urn:microsoft.com/office/officeart/2005/8/layout/list1"/>
    <dgm:cxn modelId="{B24F76A5-DA18-4B98-963D-CFE0984C25D2}" type="presParOf" srcId="{BAECB98E-A090-4052-8B75-890FCB0D5C6C}" destId="{8A26DBF8-3F81-4962-A632-B9CA2A3901AE}" srcOrd="13" destOrd="0" presId="urn:microsoft.com/office/officeart/2005/8/layout/list1"/>
    <dgm:cxn modelId="{2BBD8C3F-0386-4309-87B2-6A7A2EAA780B}" type="presParOf" srcId="{BAECB98E-A090-4052-8B75-890FCB0D5C6C}" destId="{64D07EC6-F0AE-4DB7-AD5E-216A192551A0}" srcOrd="14" destOrd="0" presId="urn:microsoft.com/office/officeart/2005/8/layout/list1"/>
    <dgm:cxn modelId="{BA608D02-76BB-4B82-831D-A083584B0C43}" type="presParOf" srcId="{BAECB98E-A090-4052-8B75-890FCB0D5C6C}" destId="{3B3E7BD4-6A44-4F05-AFB4-D0375EC02705}" srcOrd="15" destOrd="0" presId="urn:microsoft.com/office/officeart/2005/8/layout/list1"/>
    <dgm:cxn modelId="{B58BDEBB-DBDE-4E13-AF98-515D26CE6219}" type="presParOf" srcId="{BAECB98E-A090-4052-8B75-890FCB0D5C6C}" destId="{ED679CCA-D7B7-446F-8C39-F03D3ECAE362}" srcOrd="16" destOrd="0" presId="urn:microsoft.com/office/officeart/2005/8/layout/list1"/>
    <dgm:cxn modelId="{EEC4B060-56A9-45AC-A2C8-A8D02737AD7C}" type="presParOf" srcId="{ED679CCA-D7B7-446F-8C39-F03D3ECAE362}" destId="{7FF2E794-93EC-454D-9BAD-EC6431A25613}" srcOrd="0" destOrd="0" presId="urn:microsoft.com/office/officeart/2005/8/layout/list1"/>
    <dgm:cxn modelId="{2A970C22-1FFE-46C5-B8E3-6C7639D10371}" type="presParOf" srcId="{ED679CCA-D7B7-446F-8C39-F03D3ECAE362}" destId="{EBEAA736-8A33-4388-95E3-EA8CCEEC9A04}" srcOrd="1" destOrd="0" presId="urn:microsoft.com/office/officeart/2005/8/layout/list1"/>
    <dgm:cxn modelId="{7471DADF-A9A4-42FF-AE7E-8789D5FE5057}" type="presParOf" srcId="{BAECB98E-A090-4052-8B75-890FCB0D5C6C}" destId="{E5B7852C-E6A9-407F-9C36-B75CB77B2927}" srcOrd="17" destOrd="0" presId="urn:microsoft.com/office/officeart/2005/8/layout/list1"/>
    <dgm:cxn modelId="{5F9E8859-217A-4007-83E6-936B1F0D68FE}" type="presParOf" srcId="{BAECB98E-A090-4052-8B75-890FCB0D5C6C}" destId="{676C0482-5D08-4197-BCDB-9F3C6750B786}" srcOrd="18" destOrd="0" presId="urn:microsoft.com/office/officeart/2005/8/layout/list1"/>
    <dgm:cxn modelId="{C0AC91D3-B41B-49B7-B893-135B67B9279C}" type="presParOf" srcId="{BAECB98E-A090-4052-8B75-890FCB0D5C6C}" destId="{439B18E2-E09A-415B-B62D-BE16023FBC9F}" srcOrd="19" destOrd="0" presId="urn:microsoft.com/office/officeart/2005/8/layout/list1"/>
    <dgm:cxn modelId="{07EC813B-9EF9-4BEB-8F33-379C5848BEBE}" type="presParOf" srcId="{BAECB98E-A090-4052-8B75-890FCB0D5C6C}" destId="{87C8B786-9B1C-462B-8731-D42A615FDAC4}" srcOrd="20" destOrd="0" presId="urn:microsoft.com/office/officeart/2005/8/layout/list1"/>
    <dgm:cxn modelId="{CECBB61A-B540-444B-8D26-131603A20487}" type="presParOf" srcId="{87C8B786-9B1C-462B-8731-D42A615FDAC4}" destId="{EB00290F-DB6E-40B5-9310-A5C28A7EFD22}" srcOrd="0" destOrd="0" presId="urn:microsoft.com/office/officeart/2005/8/layout/list1"/>
    <dgm:cxn modelId="{75E9316D-74BB-4C0A-B5CE-4139F2E39834}" type="presParOf" srcId="{87C8B786-9B1C-462B-8731-D42A615FDAC4}" destId="{A3D82B3D-778B-4918-9DEC-D001F7CA1707}" srcOrd="1" destOrd="0" presId="urn:microsoft.com/office/officeart/2005/8/layout/list1"/>
    <dgm:cxn modelId="{7DAEE8C5-27AE-4196-A0CB-7D18BB868C2F}" type="presParOf" srcId="{BAECB98E-A090-4052-8B75-890FCB0D5C6C}" destId="{6B7F4720-C694-42B8-A7B5-B3B248AB6FC3}" srcOrd="21" destOrd="0" presId="urn:microsoft.com/office/officeart/2005/8/layout/list1"/>
    <dgm:cxn modelId="{89B924CC-AD2B-46F3-AC19-5FAD4526F5C1}" type="presParOf" srcId="{BAECB98E-A090-4052-8B75-890FCB0D5C6C}" destId="{438AF10D-58D8-4D31-ABAF-3FB766B49CD0}" srcOrd="22"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BE3D977-BD83-4685-BF59-B4E775205835}" type="doc">
      <dgm:prSet loTypeId="urn:microsoft.com/office/officeart/2005/8/layout/vList3" loCatId="list" qsTypeId="urn:microsoft.com/office/officeart/2005/8/quickstyle/simple1" qsCatId="simple" csTypeId="urn:microsoft.com/office/officeart/2005/8/colors/accent1_2" csCatId="accent1" phldr="1"/>
      <dgm:spPr/>
    </dgm:pt>
    <dgm:pt modelId="{83F8C451-1DFF-4A83-9F19-A5175A196816}">
      <dgm:prSet phldrT="[Text]"/>
      <dgm:spPr>
        <a:solidFill>
          <a:srgbClr val="F1F193"/>
        </a:solidFill>
      </dgm:spPr>
      <dgm:t>
        <a:bodyPr/>
        <a:lstStyle/>
        <a:p>
          <a:r>
            <a:rPr lang="de-DE" b="1" dirty="0">
              <a:solidFill>
                <a:schemeClr val="bg2">
                  <a:lumMod val="50000"/>
                </a:schemeClr>
              </a:solidFill>
            </a:rPr>
            <a:t>2. Fremdsprache: </a:t>
          </a:r>
        </a:p>
        <a:p>
          <a:r>
            <a:rPr lang="de-DE" b="1" dirty="0">
              <a:solidFill>
                <a:schemeClr val="bg2">
                  <a:lumMod val="50000"/>
                </a:schemeClr>
              </a:solidFill>
            </a:rPr>
            <a:t>Spanisch</a:t>
          </a:r>
        </a:p>
      </dgm:t>
    </dgm:pt>
    <dgm:pt modelId="{520A6C6D-9EAA-4EF9-930B-5914E91A5CC3}" type="parTrans" cxnId="{3A31F1BE-ED0F-4070-AAD0-0EAF644E2CE1}">
      <dgm:prSet/>
      <dgm:spPr/>
      <dgm:t>
        <a:bodyPr/>
        <a:lstStyle/>
        <a:p>
          <a:endParaRPr lang="de-DE"/>
        </a:p>
      </dgm:t>
    </dgm:pt>
    <dgm:pt modelId="{6B9A474A-49BD-4D09-BF90-EC2163267926}" type="sibTrans" cxnId="{3A31F1BE-ED0F-4070-AAD0-0EAF644E2CE1}">
      <dgm:prSet/>
      <dgm:spPr/>
      <dgm:t>
        <a:bodyPr/>
        <a:lstStyle/>
        <a:p>
          <a:endParaRPr lang="de-DE"/>
        </a:p>
      </dgm:t>
    </dgm:pt>
    <dgm:pt modelId="{8B6CE538-6C23-4922-9A3C-F74064BA602F}">
      <dgm:prSet phldrT="[Text]"/>
      <dgm:spPr>
        <a:solidFill>
          <a:srgbClr val="92D050"/>
        </a:solidFill>
      </dgm:spPr>
      <dgm:t>
        <a:bodyPr/>
        <a:lstStyle/>
        <a:p>
          <a:r>
            <a:rPr lang="de-DE" b="1" dirty="0"/>
            <a:t>Arbeitslehre / Hauswirtschaft</a:t>
          </a:r>
        </a:p>
      </dgm:t>
    </dgm:pt>
    <dgm:pt modelId="{83F1352E-362F-4A4E-98CF-DE3B3D5E7EA2}" type="parTrans" cxnId="{DA27C392-EC60-4748-9FA4-4DBC98D3048B}">
      <dgm:prSet/>
      <dgm:spPr/>
      <dgm:t>
        <a:bodyPr/>
        <a:lstStyle/>
        <a:p>
          <a:endParaRPr lang="de-DE"/>
        </a:p>
      </dgm:t>
    </dgm:pt>
    <dgm:pt modelId="{6921E84B-628E-4D0D-9786-EAC94317444D}" type="sibTrans" cxnId="{DA27C392-EC60-4748-9FA4-4DBC98D3048B}">
      <dgm:prSet/>
      <dgm:spPr/>
      <dgm:t>
        <a:bodyPr/>
        <a:lstStyle/>
        <a:p>
          <a:endParaRPr lang="de-DE"/>
        </a:p>
      </dgm:t>
    </dgm:pt>
    <dgm:pt modelId="{45CA7608-BFE7-4F87-98CC-C0B0C1159255}">
      <dgm:prSet phldrT="[Text]"/>
      <dgm:spPr>
        <a:solidFill>
          <a:srgbClr val="558ED5"/>
        </a:solidFill>
      </dgm:spPr>
      <dgm:t>
        <a:bodyPr/>
        <a:lstStyle/>
        <a:p>
          <a:r>
            <a:rPr lang="de-DE" b="1" dirty="0"/>
            <a:t>Arbeitslehre / Technik</a:t>
          </a:r>
        </a:p>
      </dgm:t>
    </dgm:pt>
    <dgm:pt modelId="{7D2035F1-696D-4214-95B6-86B6DA80A14F}" type="parTrans" cxnId="{535A950B-A04B-404D-AA18-7890CE0A3069}">
      <dgm:prSet/>
      <dgm:spPr/>
      <dgm:t>
        <a:bodyPr/>
        <a:lstStyle/>
        <a:p>
          <a:endParaRPr lang="de-DE"/>
        </a:p>
      </dgm:t>
    </dgm:pt>
    <dgm:pt modelId="{C77FABE6-DA1C-453A-9207-0512A9B1672B}" type="sibTrans" cxnId="{535A950B-A04B-404D-AA18-7890CE0A3069}">
      <dgm:prSet/>
      <dgm:spPr/>
      <dgm:t>
        <a:bodyPr/>
        <a:lstStyle/>
        <a:p>
          <a:endParaRPr lang="de-DE"/>
        </a:p>
      </dgm:t>
    </dgm:pt>
    <dgm:pt modelId="{2786B3E8-B402-426B-90A1-446CDB1B38FC}">
      <dgm:prSet phldrT="[Text]"/>
      <dgm:spPr>
        <a:solidFill>
          <a:srgbClr val="7B8B9C"/>
        </a:solidFill>
      </dgm:spPr>
      <dgm:t>
        <a:bodyPr/>
        <a:lstStyle/>
        <a:p>
          <a:r>
            <a:rPr lang="de-DE" b="1" dirty="0"/>
            <a:t>Naturwissenschaften</a:t>
          </a:r>
        </a:p>
      </dgm:t>
    </dgm:pt>
    <dgm:pt modelId="{AD398F6D-5B9A-42FB-B16C-94A1AC0A7CA2}" type="parTrans" cxnId="{A4DB0F12-27AE-4E2F-BFE3-FA377044B7BA}">
      <dgm:prSet/>
      <dgm:spPr/>
      <dgm:t>
        <a:bodyPr/>
        <a:lstStyle/>
        <a:p>
          <a:endParaRPr lang="de-DE"/>
        </a:p>
      </dgm:t>
    </dgm:pt>
    <dgm:pt modelId="{9112160D-9DAA-4B74-B04F-AA5764D7A2FF}" type="sibTrans" cxnId="{A4DB0F12-27AE-4E2F-BFE3-FA377044B7BA}">
      <dgm:prSet/>
      <dgm:spPr/>
      <dgm:t>
        <a:bodyPr/>
        <a:lstStyle/>
        <a:p>
          <a:endParaRPr lang="de-DE"/>
        </a:p>
      </dgm:t>
    </dgm:pt>
    <dgm:pt modelId="{C1F08C10-586A-45DC-911B-ADA5127D44AB}">
      <dgm:prSet phldrT="[Text]"/>
      <dgm:spPr>
        <a:solidFill>
          <a:schemeClr val="tx2">
            <a:lumMod val="40000"/>
            <a:lumOff val="60000"/>
          </a:schemeClr>
        </a:solidFill>
      </dgm:spPr>
      <dgm:t>
        <a:bodyPr/>
        <a:lstStyle/>
        <a:p>
          <a:r>
            <a:rPr lang="de-DE" b="1" dirty="0">
              <a:solidFill>
                <a:schemeClr val="bg2">
                  <a:lumMod val="50000"/>
                </a:schemeClr>
              </a:solidFill>
            </a:rPr>
            <a:t>Darstellen und Gestalten</a:t>
          </a:r>
        </a:p>
      </dgm:t>
    </dgm:pt>
    <dgm:pt modelId="{2D96F4F1-DD1A-43FA-AC01-998E83AA16D2}" type="parTrans" cxnId="{6DA1BAF0-69AD-4739-9335-84840FE7ABC4}">
      <dgm:prSet/>
      <dgm:spPr/>
      <dgm:t>
        <a:bodyPr/>
        <a:lstStyle/>
        <a:p>
          <a:endParaRPr lang="de-DE"/>
        </a:p>
      </dgm:t>
    </dgm:pt>
    <dgm:pt modelId="{84B56D72-23EC-413E-AF72-7C7C15221E94}" type="sibTrans" cxnId="{6DA1BAF0-69AD-4739-9335-84840FE7ABC4}">
      <dgm:prSet/>
      <dgm:spPr/>
      <dgm:t>
        <a:bodyPr/>
        <a:lstStyle/>
        <a:p>
          <a:endParaRPr lang="de-DE"/>
        </a:p>
      </dgm:t>
    </dgm:pt>
    <dgm:pt modelId="{0D8E5C9B-9311-40F0-A231-21583B41BFD6}">
      <dgm:prSet phldr="0"/>
      <dgm:spPr>
        <a:solidFill>
          <a:schemeClr val="tx1">
            <a:lumMod val="50000"/>
          </a:schemeClr>
        </a:solidFill>
      </dgm:spPr>
      <dgm:t>
        <a:bodyPr/>
        <a:lstStyle/>
        <a:p>
          <a:pPr rtl="0"/>
          <a:r>
            <a:rPr lang="de-DE" b="1" dirty="0">
              <a:latin typeface="TKTypeBold"/>
            </a:rPr>
            <a:t>Informatik </a:t>
          </a:r>
        </a:p>
      </dgm:t>
    </dgm:pt>
    <dgm:pt modelId="{AB9E5843-4B03-4561-84B9-8BA013216592}" type="parTrans" cxnId="{C601BA22-923C-4CF3-B409-4C5745FFB998}">
      <dgm:prSet/>
      <dgm:spPr/>
      <dgm:t>
        <a:bodyPr/>
        <a:lstStyle/>
        <a:p>
          <a:endParaRPr lang="de-DE"/>
        </a:p>
      </dgm:t>
    </dgm:pt>
    <dgm:pt modelId="{D5A0A835-E461-4763-9E96-B56EED31C04A}" type="sibTrans" cxnId="{C601BA22-923C-4CF3-B409-4C5745FFB998}">
      <dgm:prSet/>
      <dgm:spPr/>
      <dgm:t>
        <a:bodyPr/>
        <a:lstStyle/>
        <a:p>
          <a:endParaRPr lang="de-DE"/>
        </a:p>
      </dgm:t>
    </dgm:pt>
    <dgm:pt modelId="{DD2AAC99-9E4E-4859-9899-5C38A25BD50E}" type="pres">
      <dgm:prSet presAssocID="{DBE3D977-BD83-4685-BF59-B4E775205835}" presName="linearFlow" presStyleCnt="0">
        <dgm:presLayoutVars>
          <dgm:dir/>
          <dgm:resizeHandles val="exact"/>
        </dgm:presLayoutVars>
      </dgm:prSet>
      <dgm:spPr/>
    </dgm:pt>
    <dgm:pt modelId="{463A851D-F30E-4C04-99AF-1D3CB63E2CA0}" type="pres">
      <dgm:prSet presAssocID="{83F8C451-1DFF-4A83-9F19-A5175A196816}" presName="composite" presStyleCnt="0"/>
      <dgm:spPr/>
    </dgm:pt>
    <dgm:pt modelId="{917F9E7B-A053-488F-A708-83B2E3237B92}" type="pres">
      <dgm:prSet presAssocID="{83F8C451-1DFF-4A83-9F19-A5175A196816}" presName="imgShp" presStyleLbl="fgImgPlace1" presStyleIdx="0" presStyleCnt="6"/>
      <dgm:spPr>
        <a:solidFill>
          <a:schemeClr val="bg1"/>
        </a:solidFill>
        <a:ln>
          <a:solidFill>
            <a:srgbClr val="F1F193"/>
          </a:solidFill>
        </a:ln>
      </dgm:spPr>
    </dgm:pt>
    <dgm:pt modelId="{4E0FFBB5-17B8-4AFD-A060-276F9E1F9C1D}" type="pres">
      <dgm:prSet presAssocID="{83F8C451-1DFF-4A83-9F19-A5175A196816}" presName="txShp" presStyleLbl="node1" presStyleIdx="0" presStyleCnt="6" custLinFactNeighborX="4921" custLinFactNeighborY="11139">
        <dgm:presLayoutVars>
          <dgm:bulletEnabled val="1"/>
        </dgm:presLayoutVars>
      </dgm:prSet>
      <dgm:spPr/>
      <dgm:t>
        <a:bodyPr/>
        <a:lstStyle/>
        <a:p>
          <a:endParaRPr lang="de-DE"/>
        </a:p>
      </dgm:t>
    </dgm:pt>
    <dgm:pt modelId="{ABF92193-4012-4D3F-8006-66630891397D}" type="pres">
      <dgm:prSet presAssocID="{6B9A474A-49BD-4D09-BF90-EC2163267926}" presName="spacing" presStyleCnt="0"/>
      <dgm:spPr/>
    </dgm:pt>
    <dgm:pt modelId="{A3EECDC5-FF55-4EE7-8B54-EB0D679A774F}" type="pres">
      <dgm:prSet presAssocID="{8B6CE538-6C23-4922-9A3C-F74064BA602F}" presName="composite" presStyleCnt="0"/>
      <dgm:spPr/>
    </dgm:pt>
    <dgm:pt modelId="{F1A2F206-764E-4545-9CA5-DF58106137B7}" type="pres">
      <dgm:prSet presAssocID="{8B6CE538-6C23-4922-9A3C-F74064BA602F}" presName="imgShp" presStyleLbl="fgImgPlace1" presStyleIdx="1" presStyleCnt="6" custFlipVert="1" custScaleX="94510" custScaleY="85122" custLinFactNeighborX="1905" custLinFactNeighborY="1253"/>
      <dgm:spPr>
        <a:solidFill>
          <a:schemeClr val="bg1"/>
        </a:solidFill>
        <a:ln>
          <a:solidFill>
            <a:srgbClr val="CBCB2B"/>
          </a:solidFill>
        </a:ln>
      </dgm:spPr>
    </dgm:pt>
    <dgm:pt modelId="{CD5AE923-A9D3-4CA0-922A-A7C71150345C}" type="pres">
      <dgm:prSet presAssocID="{8B6CE538-6C23-4922-9A3C-F74064BA602F}" presName="txShp" presStyleLbl="node1" presStyleIdx="1" presStyleCnt="6" custLinFactNeighborX="5538" custLinFactNeighborY="-405">
        <dgm:presLayoutVars>
          <dgm:bulletEnabled val="1"/>
        </dgm:presLayoutVars>
      </dgm:prSet>
      <dgm:spPr/>
      <dgm:t>
        <a:bodyPr/>
        <a:lstStyle/>
        <a:p>
          <a:endParaRPr lang="de-DE"/>
        </a:p>
      </dgm:t>
    </dgm:pt>
    <dgm:pt modelId="{9402910D-B3BB-44B4-8348-360EDAE232B2}" type="pres">
      <dgm:prSet presAssocID="{6921E84B-628E-4D0D-9786-EAC94317444D}" presName="spacing" presStyleCnt="0"/>
      <dgm:spPr/>
    </dgm:pt>
    <dgm:pt modelId="{57340284-923B-4803-A120-8C27A6DB08DE}" type="pres">
      <dgm:prSet presAssocID="{45CA7608-BFE7-4F87-98CC-C0B0C1159255}" presName="composite" presStyleCnt="0"/>
      <dgm:spPr/>
    </dgm:pt>
    <dgm:pt modelId="{EBB01DF2-3A46-41BD-AFE3-BBD7D94CDBDB}" type="pres">
      <dgm:prSet presAssocID="{45CA7608-BFE7-4F87-98CC-C0B0C1159255}" presName="imgShp" presStyleLbl="fgImgPlace1" presStyleIdx="2" presStyleCnt="6" custScaleX="90250" custScaleY="90078"/>
      <dgm:spPr>
        <a:solidFill>
          <a:schemeClr val="bg1"/>
        </a:solidFill>
        <a:ln>
          <a:solidFill>
            <a:srgbClr val="004070"/>
          </a:solidFill>
        </a:ln>
      </dgm:spPr>
    </dgm:pt>
    <dgm:pt modelId="{BC8A72AD-F2A8-4772-AB45-5F8889B03F6D}" type="pres">
      <dgm:prSet presAssocID="{45CA7608-BFE7-4F87-98CC-C0B0C1159255}" presName="txShp" presStyleLbl="node1" presStyleIdx="2" presStyleCnt="6" custLinFactNeighborX="5199" custLinFactNeighborY="11854">
        <dgm:presLayoutVars>
          <dgm:bulletEnabled val="1"/>
        </dgm:presLayoutVars>
      </dgm:prSet>
      <dgm:spPr/>
      <dgm:t>
        <a:bodyPr/>
        <a:lstStyle/>
        <a:p>
          <a:endParaRPr lang="de-DE"/>
        </a:p>
      </dgm:t>
    </dgm:pt>
    <dgm:pt modelId="{2CE6851F-79CE-46D0-87C0-1C0C47DF2B9D}" type="pres">
      <dgm:prSet presAssocID="{C77FABE6-DA1C-453A-9207-0512A9B1672B}" presName="spacing" presStyleCnt="0"/>
      <dgm:spPr/>
    </dgm:pt>
    <dgm:pt modelId="{AB414224-8138-491F-928A-18A2459EDCA0}" type="pres">
      <dgm:prSet presAssocID="{2786B3E8-B402-426B-90A1-446CDB1B38FC}" presName="composite" presStyleCnt="0"/>
      <dgm:spPr/>
    </dgm:pt>
    <dgm:pt modelId="{B926A707-3FF7-43DD-A449-FFE054225F03}" type="pres">
      <dgm:prSet presAssocID="{2786B3E8-B402-426B-90A1-446CDB1B38FC}" presName="imgShp" presStyleLbl="fgImgPlace1" presStyleIdx="3" presStyleCnt="6" custLinFactNeighborX="4750" custLinFactNeighborY="5586"/>
      <dgm:spPr>
        <a:solidFill>
          <a:schemeClr val="bg1"/>
        </a:solidFill>
        <a:ln>
          <a:solidFill>
            <a:srgbClr val="7B8B9C"/>
          </a:solidFill>
        </a:ln>
      </dgm:spPr>
    </dgm:pt>
    <dgm:pt modelId="{0DEF22BF-EE16-41AD-9BE6-50B4879917DF}" type="pres">
      <dgm:prSet presAssocID="{2786B3E8-B402-426B-90A1-446CDB1B38FC}" presName="txShp" presStyleLbl="node1" presStyleIdx="3" presStyleCnt="6" custLinFactNeighborX="5355" custLinFactNeighborY="351">
        <dgm:presLayoutVars>
          <dgm:bulletEnabled val="1"/>
        </dgm:presLayoutVars>
      </dgm:prSet>
      <dgm:spPr/>
      <dgm:t>
        <a:bodyPr/>
        <a:lstStyle/>
        <a:p>
          <a:endParaRPr lang="de-DE"/>
        </a:p>
      </dgm:t>
    </dgm:pt>
    <dgm:pt modelId="{C6058435-4FB9-4B87-9C4B-1609938FFC52}" type="pres">
      <dgm:prSet presAssocID="{9112160D-9DAA-4B74-B04F-AA5764D7A2FF}" presName="spacing" presStyleCnt="0"/>
      <dgm:spPr/>
    </dgm:pt>
    <dgm:pt modelId="{D501A27D-3687-49E8-A353-5D1F0343CF0E}" type="pres">
      <dgm:prSet presAssocID="{C1F08C10-586A-45DC-911B-ADA5127D44AB}" presName="composite" presStyleCnt="0"/>
      <dgm:spPr/>
    </dgm:pt>
    <dgm:pt modelId="{6B5DCDE3-9AA7-4E58-ABD4-641EC8937413}" type="pres">
      <dgm:prSet presAssocID="{C1F08C10-586A-45DC-911B-ADA5127D44AB}" presName="imgShp" presStyleLbl="fgImgPlace1" presStyleIdx="4" presStyleCnt="6"/>
      <dgm:spPr>
        <a:solidFill>
          <a:schemeClr val="bg1"/>
        </a:solidFill>
        <a:ln>
          <a:solidFill>
            <a:schemeClr val="tx2">
              <a:lumMod val="60000"/>
              <a:lumOff val="40000"/>
            </a:schemeClr>
          </a:solidFill>
        </a:ln>
      </dgm:spPr>
    </dgm:pt>
    <dgm:pt modelId="{C7DB990E-15F8-4FAA-80AB-E4D2F2A43B27}" type="pres">
      <dgm:prSet presAssocID="{C1F08C10-586A-45DC-911B-ADA5127D44AB}" presName="txShp" presStyleLbl="node1" presStyleIdx="4" presStyleCnt="6" custLinFactNeighborX="5355" custLinFactNeighborY="-657">
        <dgm:presLayoutVars>
          <dgm:bulletEnabled val="1"/>
        </dgm:presLayoutVars>
      </dgm:prSet>
      <dgm:spPr/>
      <dgm:t>
        <a:bodyPr/>
        <a:lstStyle/>
        <a:p>
          <a:endParaRPr lang="de-DE"/>
        </a:p>
      </dgm:t>
    </dgm:pt>
    <dgm:pt modelId="{E9CD64C4-1823-4636-BA7A-B6B6C342D1E0}" type="pres">
      <dgm:prSet presAssocID="{84B56D72-23EC-413E-AF72-7C7C15221E94}" presName="spacing" presStyleCnt="0"/>
      <dgm:spPr/>
    </dgm:pt>
    <dgm:pt modelId="{98486475-165A-43FE-97C3-0A870A4D6E63}" type="pres">
      <dgm:prSet presAssocID="{0D8E5C9B-9311-40F0-A231-21583B41BFD6}" presName="composite" presStyleCnt="0"/>
      <dgm:spPr/>
    </dgm:pt>
    <dgm:pt modelId="{252E7887-6A9D-488D-A5D9-5BF71525BF68}" type="pres">
      <dgm:prSet presAssocID="{0D8E5C9B-9311-40F0-A231-21583B41BFD6}" presName="imgShp" presStyleLbl="fgImgPlace1" presStyleIdx="5" presStyleCnt="6"/>
      <dgm:spPr/>
    </dgm:pt>
    <dgm:pt modelId="{5BAC33F0-E0DF-40AB-AA9D-0EF32C2AC61A}" type="pres">
      <dgm:prSet presAssocID="{0D8E5C9B-9311-40F0-A231-21583B41BFD6}" presName="txShp" presStyleLbl="node1" presStyleIdx="5" presStyleCnt="6" custLinFactNeighborX="5936" custLinFactNeighborY="-9931">
        <dgm:presLayoutVars>
          <dgm:bulletEnabled val="1"/>
        </dgm:presLayoutVars>
      </dgm:prSet>
      <dgm:spPr/>
      <dgm:t>
        <a:bodyPr/>
        <a:lstStyle/>
        <a:p>
          <a:endParaRPr lang="de-DE"/>
        </a:p>
      </dgm:t>
    </dgm:pt>
  </dgm:ptLst>
  <dgm:cxnLst>
    <dgm:cxn modelId="{F345BF4E-5541-4038-9F9E-83CC6F9DE2A1}" type="presOf" srcId="{2786B3E8-B402-426B-90A1-446CDB1B38FC}" destId="{0DEF22BF-EE16-41AD-9BE6-50B4879917DF}" srcOrd="0" destOrd="0" presId="urn:microsoft.com/office/officeart/2005/8/layout/vList3"/>
    <dgm:cxn modelId="{535A950B-A04B-404D-AA18-7890CE0A3069}" srcId="{DBE3D977-BD83-4685-BF59-B4E775205835}" destId="{45CA7608-BFE7-4F87-98CC-C0B0C1159255}" srcOrd="2" destOrd="0" parTransId="{7D2035F1-696D-4214-95B6-86B6DA80A14F}" sibTransId="{C77FABE6-DA1C-453A-9207-0512A9B1672B}"/>
    <dgm:cxn modelId="{0FCCCF1F-62CD-4BF7-9672-1ECE81C3E86A}" type="presOf" srcId="{C1F08C10-586A-45DC-911B-ADA5127D44AB}" destId="{C7DB990E-15F8-4FAA-80AB-E4D2F2A43B27}" srcOrd="0" destOrd="0" presId="urn:microsoft.com/office/officeart/2005/8/layout/vList3"/>
    <dgm:cxn modelId="{C601BA22-923C-4CF3-B409-4C5745FFB998}" srcId="{DBE3D977-BD83-4685-BF59-B4E775205835}" destId="{0D8E5C9B-9311-40F0-A231-21583B41BFD6}" srcOrd="5" destOrd="0" parTransId="{AB9E5843-4B03-4561-84B9-8BA013216592}" sibTransId="{D5A0A835-E461-4763-9E96-B56EED31C04A}"/>
    <dgm:cxn modelId="{DA27C392-EC60-4748-9FA4-4DBC98D3048B}" srcId="{DBE3D977-BD83-4685-BF59-B4E775205835}" destId="{8B6CE538-6C23-4922-9A3C-F74064BA602F}" srcOrd="1" destOrd="0" parTransId="{83F1352E-362F-4A4E-98CF-DE3B3D5E7EA2}" sibTransId="{6921E84B-628E-4D0D-9786-EAC94317444D}"/>
    <dgm:cxn modelId="{FBAED881-1AA9-4BC5-BB35-4FEB070A5F61}" type="presOf" srcId="{8B6CE538-6C23-4922-9A3C-F74064BA602F}" destId="{CD5AE923-A9D3-4CA0-922A-A7C71150345C}" srcOrd="0" destOrd="0" presId="urn:microsoft.com/office/officeart/2005/8/layout/vList3"/>
    <dgm:cxn modelId="{52BBF4CC-628A-45BA-B162-C3E650F6A288}" type="presOf" srcId="{45CA7608-BFE7-4F87-98CC-C0B0C1159255}" destId="{BC8A72AD-F2A8-4772-AB45-5F8889B03F6D}" srcOrd="0" destOrd="0" presId="urn:microsoft.com/office/officeart/2005/8/layout/vList3"/>
    <dgm:cxn modelId="{947B77DF-B3A1-4598-827E-C57A74016B1D}" type="presOf" srcId="{83F8C451-1DFF-4A83-9F19-A5175A196816}" destId="{4E0FFBB5-17B8-4AFD-A060-276F9E1F9C1D}" srcOrd="0" destOrd="0" presId="urn:microsoft.com/office/officeart/2005/8/layout/vList3"/>
    <dgm:cxn modelId="{38CA5C40-DA52-4EB9-9DE1-1A1A4762B374}" type="presOf" srcId="{0D8E5C9B-9311-40F0-A231-21583B41BFD6}" destId="{5BAC33F0-E0DF-40AB-AA9D-0EF32C2AC61A}" srcOrd="0" destOrd="0" presId="urn:microsoft.com/office/officeart/2005/8/layout/vList3"/>
    <dgm:cxn modelId="{A4DB0F12-27AE-4E2F-BFE3-FA377044B7BA}" srcId="{DBE3D977-BD83-4685-BF59-B4E775205835}" destId="{2786B3E8-B402-426B-90A1-446CDB1B38FC}" srcOrd="3" destOrd="0" parTransId="{AD398F6D-5B9A-42FB-B16C-94A1AC0A7CA2}" sibTransId="{9112160D-9DAA-4B74-B04F-AA5764D7A2FF}"/>
    <dgm:cxn modelId="{6DA1BAF0-69AD-4739-9335-84840FE7ABC4}" srcId="{DBE3D977-BD83-4685-BF59-B4E775205835}" destId="{C1F08C10-586A-45DC-911B-ADA5127D44AB}" srcOrd="4" destOrd="0" parTransId="{2D96F4F1-DD1A-43FA-AC01-998E83AA16D2}" sibTransId="{84B56D72-23EC-413E-AF72-7C7C15221E94}"/>
    <dgm:cxn modelId="{71C0F60A-E00D-4D90-BF83-1CC24CC14B7F}" type="presOf" srcId="{DBE3D977-BD83-4685-BF59-B4E775205835}" destId="{DD2AAC99-9E4E-4859-9899-5C38A25BD50E}" srcOrd="0" destOrd="0" presId="urn:microsoft.com/office/officeart/2005/8/layout/vList3"/>
    <dgm:cxn modelId="{3A31F1BE-ED0F-4070-AAD0-0EAF644E2CE1}" srcId="{DBE3D977-BD83-4685-BF59-B4E775205835}" destId="{83F8C451-1DFF-4A83-9F19-A5175A196816}" srcOrd="0" destOrd="0" parTransId="{520A6C6D-9EAA-4EF9-930B-5914E91A5CC3}" sibTransId="{6B9A474A-49BD-4D09-BF90-EC2163267926}"/>
    <dgm:cxn modelId="{59642B72-C293-467E-B30A-021010A6092A}" type="presParOf" srcId="{DD2AAC99-9E4E-4859-9899-5C38A25BD50E}" destId="{463A851D-F30E-4C04-99AF-1D3CB63E2CA0}" srcOrd="0" destOrd="0" presId="urn:microsoft.com/office/officeart/2005/8/layout/vList3"/>
    <dgm:cxn modelId="{E7C50CF3-E1F6-4D32-A2B8-623F0514D389}" type="presParOf" srcId="{463A851D-F30E-4C04-99AF-1D3CB63E2CA0}" destId="{917F9E7B-A053-488F-A708-83B2E3237B92}" srcOrd="0" destOrd="0" presId="urn:microsoft.com/office/officeart/2005/8/layout/vList3"/>
    <dgm:cxn modelId="{C85656B1-E2FF-42B8-A222-53F31AC65F8B}" type="presParOf" srcId="{463A851D-F30E-4C04-99AF-1D3CB63E2CA0}" destId="{4E0FFBB5-17B8-4AFD-A060-276F9E1F9C1D}" srcOrd="1" destOrd="0" presId="urn:microsoft.com/office/officeart/2005/8/layout/vList3"/>
    <dgm:cxn modelId="{D7E9E876-7898-4557-87A2-6FA6B462432E}" type="presParOf" srcId="{DD2AAC99-9E4E-4859-9899-5C38A25BD50E}" destId="{ABF92193-4012-4D3F-8006-66630891397D}" srcOrd="1" destOrd="0" presId="urn:microsoft.com/office/officeart/2005/8/layout/vList3"/>
    <dgm:cxn modelId="{9BB61246-AB30-4629-A35C-40F86DE655D1}" type="presParOf" srcId="{DD2AAC99-9E4E-4859-9899-5C38A25BD50E}" destId="{A3EECDC5-FF55-4EE7-8B54-EB0D679A774F}" srcOrd="2" destOrd="0" presId="urn:microsoft.com/office/officeart/2005/8/layout/vList3"/>
    <dgm:cxn modelId="{3C194D90-53D4-44FF-AE03-1C23743F5E2A}" type="presParOf" srcId="{A3EECDC5-FF55-4EE7-8B54-EB0D679A774F}" destId="{F1A2F206-764E-4545-9CA5-DF58106137B7}" srcOrd="0" destOrd="0" presId="urn:microsoft.com/office/officeart/2005/8/layout/vList3"/>
    <dgm:cxn modelId="{3BAD9C3F-ACDB-42EF-BE93-17E88348053C}" type="presParOf" srcId="{A3EECDC5-FF55-4EE7-8B54-EB0D679A774F}" destId="{CD5AE923-A9D3-4CA0-922A-A7C71150345C}" srcOrd="1" destOrd="0" presId="urn:microsoft.com/office/officeart/2005/8/layout/vList3"/>
    <dgm:cxn modelId="{944F1366-B5B9-4FF2-A846-CFED6266282D}" type="presParOf" srcId="{DD2AAC99-9E4E-4859-9899-5C38A25BD50E}" destId="{9402910D-B3BB-44B4-8348-360EDAE232B2}" srcOrd="3" destOrd="0" presId="urn:microsoft.com/office/officeart/2005/8/layout/vList3"/>
    <dgm:cxn modelId="{B85D949C-A173-46B7-93C8-433B50D1ACD0}" type="presParOf" srcId="{DD2AAC99-9E4E-4859-9899-5C38A25BD50E}" destId="{57340284-923B-4803-A120-8C27A6DB08DE}" srcOrd="4" destOrd="0" presId="urn:microsoft.com/office/officeart/2005/8/layout/vList3"/>
    <dgm:cxn modelId="{FA8F76DE-C66A-49DC-A1D4-523E519E6869}" type="presParOf" srcId="{57340284-923B-4803-A120-8C27A6DB08DE}" destId="{EBB01DF2-3A46-41BD-AFE3-BBD7D94CDBDB}" srcOrd="0" destOrd="0" presId="urn:microsoft.com/office/officeart/2005/8/layout/vList3"/>
    <dgm:cxn modelId="{699BD07C-63D8-4CC1-AAA7-CCDD7D25A6C3}" type="presParOf" srcId="{57340284-923B-4803-A120-8C27A6DB08DE}" destId="{BC8A72AD-F2A8-4772-AB45-5F8889B03F6D}" srcOrd="1" destOrd="0" presId="urn:microsoft.com/office/officeart/2005/8/layout/vList3"/>
    <dgm:cxn modelId="{AA62C181-CDA9-478F-91F0-0AA93980CBB6}" type="presParOf" srcId="{DD2AAC99-9E4E-4859-9899-5C38A25BD50E}" destId="{2CE6851F-79CE-46D0-87C0-1C0C47DF2B9D}" srcOrd="5" destOrd="0" presId="urn:microsoft.com/office/officeart/2005/8/layout/vList3"/>
    <dgm:cxn modelId="{50FF5335-5775-4236-B6FD-063657C878A8}" type="presParOf" srcId="{DD2AAC99-9E4E-4859-9899-5C38A25BD50E}" destId="{AB414224-8138-491F-928A-18A2459EDCA0}" srcOrd="6" destOrd="0" presId="urn:microsoft.com/office/officeart/2005/8/layout/vList3"/>
    <dgm:cxn modelId="{A92AEEF3-01BB-4065-8359-3D34F49DB81C}" type="presParOf" srcId="{AB414224-8138-491F-928A-18A2459EDCA0}" destId="{B926A707-3FF7-43DD-A449-FFE054225F03}" srcOrd="0" destOrd="0" presId="urn:microsoft.com/office/officeart/2005/8/layout/vList3"/>
    <dgm:cxn modelId="{0B981375-8CE5-4B7F-80A9-C26DB4BE6574}" type="presParOf" srcId="{AB414224-8138-491F-928A-18A2459EDCA0}" destId="{0DEF22BF-EE16-41AD-9BE6-50B4879917DF}" srcOrd="1" destOrd="0" presId="urn:microsoft.com/office/officeart/2005/8/layout/vList3"/>
    <dgm:cxn modelId="{3835417A-BD29-41CC-80E5-B80D746BB449}" type="presParOf" srcId="{DD2AAC99-9E4E-4859-9899-5C38A25BD50E}" destId="{C6058435-4FB9-4B87-9C4B-1609938FFC52}" srcOrd="7" destOrd="0" presId="urn:microsoft.com/office/officeart/2005/8/layout/vList3"/>
    <dgm:cxn modelId="{3287D2D9-DEB7-431A-8A00-6D925483411A}" type="presParOf" srcId="{DD2AAC99-9E4E-4859-9899-5C38A25BD50E}" destId="{D501A27D-3687-49E8-A353-5D1F0343CF0E}" srcOrd="8" destOrd="0" presId="urn:microsoft.com/office/officeart/2005/8/layout/vList3"/>
    <dgm:cxn modelId="{E8834F0B-FF53-4F96-8325-AF8F6CDBAD0A}" type="presParOf" srcId="{D501A27D-3687-49E8-A353-5D1F0343CF0E}" destId="{6B5DCDE3-9AA7-4E58-ABD4-641EC8937413}" srcOrd="0" destOrd="0" presId="urn:microsoft.com/office/officeart/2005/8/layout/vList3"/>
    <dgm:cxn modelId="{097B64CC-3CA7-4309-845B-D3C1D64812CE}" type="presParOf" srcId="{D501A27D-3687-49E8-A353-5D1F0343CF0E}" destId="{C7DB990E-15F8-4FAA-80AB-E4D2F2A43B27}" srcOrd="1" destOrd="0" presId="urn:microsoft.com/office/officeart/2005/8/layout/vList3"/>
    <dgm:cxn modelId="{9E92B300-E3F5-47B3-8192-8590292BE989}" type="presParOf" srcId="{DD2AAC99-9E4E-4859-9899-5C38A25BD50E}" destId="{E9CD64C4-1823-4636-BA7A-B6B6C342D1E0}" srcOrd="9" destOrd="0" presId="urn:microsoft.com/office/officeart/2005/8/layout/vList3"/>
    <dgm:cxn modelId="{80B65111-1DAB-4178-A1E7-B5391F1E21E2}" type="presParOf" srcId="{DD2AAC99-9E4E-4859-9899-5C38A25BD50E}" destId="{98486475-165A-43FE-97C3-0A870A4D6E63}" srcOrd="10" destOrd="0" presId="urn:microsoft.com/office/officeart/2005/8/layout/vList3"/>
    <dgm:cxn modelId="{65E0E58E-BB78-4718-B242-3BAED90342E4}" type="presParOf" srcId="{98486475-165A-43FE-97C3-0A870A4D6E63}" destId="{252E7887-6A9D-488D-A5D9-5BF71525BF68}" srcOrd="0" destOrd="0" presId="urn:microsoft.com/office/officeart/2005/8/layout/vList3"/>
    <dgm:cxn modelId="{7531E8F3-BE0A-40CB-AA78-2DB28AEFD028}" type="presParOf" srcId="{98486475-165A-43FE-97C3-0A870A4D6E63}" destId="{5BAC33F0-E0DF-40AB-AA9D-0EF32C2AC61A}"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57EF868-ADC0-442B-9465-1AFCA43EE7B8}" type="doc">
      <dgm:prSet loTypeId="urn:microsoft.com/office/officeart/2005/8/layout/hProcess9" loCatId="process" qsTypeId="urn:microsoft.com/office/officeart/2005/8/quickstyle/simple1" qsCatId="simple" csTypeId="urn:microsoft.com/office/officeart/2005/8/colors/accent1_2" csCatId="accent1" phldr="1"/>
      <dgm:spPr/>
    </dgm:pt>
    <dgm:pt modelId="{229A6F30-2228-41C9-8255-322CECA486D2}">
      <dgm:prSet phldrT="[Text]"/>
      <dgm:spPr>
        <a:solidFill>
          <a:srgbClr val="F1F193"/>
        </a:solidFill>
      </dgm:spPr>
      <dgm:t>
        <a:bodyPr/>
        <a:lstStyle/>
        <a:p>
          <a:r>
            <a:rPr lang="de-DE" dirty="0">
              <a:solidFill>
                <a:srgbClr val="3B434F"/>
              </a:solidFill>
            </a:rPr>
            <a:t>Klasse 7: Mathematik und Englisch</a:t>
          </a:r>
        </a:p>
      </dgm:t>
    </dgm:pt>
    <dgm:pt modelId="{190B48EB-3AFF-48D8-AB7A-76BF453D911E}" type="parTrans" cxnId="{7094B32C-7863-46A5-B83D-0CE32867421F}">
      <dgm:prSet/>
      <dgm:spPr/>
      <dgm:t>
        <a:bodyPr/>
        <a:lstStyle/>
        <a:p>
          <a:endParaRPr lang="de-DE"/>
        </a:p>
      </dgm:t>
    </dgm:pt>
    <dgm:pt modelId="{AB4BDA57-901F-4F44-9355-9CDD350B64B3}" type="sibTrans" cxnId="{7094B32C-7863-46A5-B83D-0CE32867421F}">
      <dgm:prSet/>
      <dgm:spPr/>
      <dgm:t>
        <a:bodyPr/>
        <a:lstStyle/>
        <a:p>
          <a:endParaRPr lang="de-DE"/>
        </a:p>
      </dgm:t>
    </dgm:pt>
    <dgm:pt modelId="{51C860DA-684F-4B32-A5D2-A47211D96255}">
      <dgm:prSet phldrT="[Text]"/>
      <dgm:spPr>
        <a:solidFill>
          <a:srgbClr val="F1F193"/>
        </a:solidFill>
      </dgm:spPr>
      <dgm:t>
        <a:bodyPr/>
        <a:lstStyle/>
        <a:p>
          <a:pPr rtl="0"/>
          <a:r>
            <a:rPr lang="de-DE" dirty="0">
              <a:solidFill>
                <a:srgbClr val="3B434F"/>
              </a:solidFill>
            </a:rPr>
            <a:t>Klasse </a:t>
          </a:r>
          <a:r>
            <a:rPr lang="de-DE" dirty="0">
              <a:solidFill>
                <a:srgbClr val="3B434F"/>
              </a:solidFill>
              <a:latin typeface="TKTypeBold"/>
            </a:rPr>
            <a:t>8</a:t>
          </a:r>
          <a:r>
            <a:rPr lang="de-DE" dirty="0">
              <a:solidFill>
                <a:srgbClr val="3B434F"/>
              </a:solidFill>
            </a:rPr>
            <a:t>: Deutsch</a:t>
          </a:r>
          <a:r>
            <a:rPr lang="de-DE" dirty="0">
              <a:solidFill>
                <a:srgbClr val="3B434F"/>
              </a:solidFill>
              <a:latin typeface="TKTypeBold"/>
            </a:rPr>
            <a:t> </a:t>
          </a:r>
          <a:r>
            <a:rPr lang="de-DE" dirty="0">
              <a:solidFill>
                <a:srgbClr val="3B434F"/>
              </a:solidFill>
            </a:rPr>
            <a:t> </a:t>
          </a:r>
          <a:endParaRPr lang="de-DE" dirty="0">
            <a:solidFill>
              <a:srgbClr val="3B434F"/>
            </a:solidFill>
            <a:latin typeface="TKTypeBold"/>
          </a:endParaRPr>
        </a:p>
      </dgm:t>
    </dgm:pt>
    <dgm:pt modelId="{2F27FC4A-2921-4B5E-BDAD-B2F896C280CF}" type="parTrans" cxnId="{2E27F43F-5D95-4EF9-A1FF-4C7AE88057AA}">
      <dgm:prSet/>
      <dgm:spPr/>
      <dgm:t>
        <a:bodyPr/>
        <a:lstStyle/>
        <a:p>
          <a:endParaRPr lang="de-DE"/>
        </a:p>
      </dgm:t>
    </dgm:pt>
    <dgm:pt modelId="{238544B5-FED0-48FE-9493-F1B6B46F2D93}" type="sibTrans" cxnId="{2E27F43F-5D95-4EF9-A1FF-4C7AE88057AA}">
      <dgm:prSet/>
      <dgm:spPr/>
      <dgm:t>
        <a:bodyPr/>
        <a:lstStyle/>
        <a:p>
          <a:endParaRPr lang="de-DE"/>
        </a:p>
      </dgm:t>
    </dgm:pt>
    <dgm:pt modelId="{4A4761CE-EFEB-4312-B91D-83A0F62C3581}">
      <dgm:prSet phldrT="[Text]"/>
      <dgm:spPr>
        <a:solidFill>
          <a:srgbClr val="92D050"/>
        </a:solidFill>
      </dgm:spPr>
      <dgm:t>
        <a:bodyPr/>
        <a:lstStyle/>
        <a:p>
          <a:r>
            <a:rPr lang="de-DE" dirty="0">
              <a:solidFill>
                <a:srgbClr val="3B434F"/>
              </a:solidFill>
            </a:rPr>
            <a:t>Ziel: den unterschiedlichen Lernvoraussetzungen und Fähigkeiten der Schülerinnen und Schüler gerecht werden</a:t>
          </a:r>
        </a:p>
      </dgm:t>
    </dgm:pt>
    <dgm:pt modelId="{A2AC1D40-ACA3-4A47-83E9-496DC604F3EC}" type="parTrans" cxnId="{CC2DAEA9-C608-42FC-9863-60322B8C05ED}">
      <dgm:prSet/>
      <dgm:spPr/>
      <dgm:t>
        <a:bodyPr/>
        <a:lstStyle/>
        <a:p>
          <a:endParaRPr lang="de-DE"/>
        </a:p>
      </dgm:t>
    </dgm:pt>
    <dgm:pt modelId="{51D8C75C-8E7E-4778-8B99-9A51CCD64DB7}" type="sibTrans" cxnId="{CC2DAEA9-C608-42FC-9863-60322B8C05ED}">
      <dgm:prSet/>
      <dgm:spPr/>
      <dgm:t>
        <a:bodyPr/>
        <a:lstStyle/>
        <a:p>
          <a:endParaRPr lang="de-DE"/>
        </a:p>
      </dgm:t>
    </dgm:pt>
    <dgm:pt modelId="{F7478FF5-0B79-4ED0-B210-539FEEC0D587}">
      <dgm:prSet phldr="0"/>
      <dgm:spPr/>
      <dgm:t>
        <a:bodyPr/>
        <a:lstStyle/>
        <a:p>
          <a:r>
            <a:rPr lang="de-DE" dirty="0">
              <a:solidFill>
                <a:srgbClr val="3B434F"/>
              </a:solidFill>
            </a:rPr>
            <a:t>Klasse 9: Physik</a:t>
          </a:r>
          <a:r>
            <a:rPr lang="de-DE" dirty="0">
              <a:solidFill>
                <a:srgbClr val="3B434F"/>
              </a:solidFill>
              <a:latin typeface="TKTypeBold"/>
            </a:rPr>
            <a:t> </a:t>
          </a:r>
          <a:endParaRPr lang="de-DE" dirty="0"/>
        </a:p>
      </dgm:t>
    </dgm:pt>
    <dgm:pt modelId="{B84E259E-9E0C-466F-B80A-A19AD053D4C0}" type="parTrans" cxnId="{4571E06B-6D65-4784-AAD5-CA79268006F4}">
      <dgm:prSet/>
      <dgm:spPr/>
      <dgm:t>
        <a:bodyPr/>
        <a:lstStyle/>
        <a:p>
          <a:endParaRPr lang="de-DE"/>
        </a:p>
      </dgm:t>
    </dgm:pt>
    <dgm:pt modelId="{6E18DB17-22D5-407D-AB67-1D2C63643541}" type="sibTrans" cxnId="{4571E06B-6D65-4784-AAD5-CA79268006F4}">
      <dgm:prSet/>
      <dgm:spPr/>
      <dgm:t>
        <a:bodyPr/>
        <a:lstStyle/>
        <a:p>
          <a:endParaRPr lang="de-DE"/>
        </a:p>
      </dgm:t>
    </dgm:pt>
    <dgm:pt modelId="{85C78094-90D3-4746-9431-9BA52A57ED74}" type="pres">
      <dgm:prSet presAssocID="{D57EF868-ADC0-442B-9465-1AFCA43EE7B8}" presName="CompostProcess" presStyleCnt="0">
        <dgm:presLayoutVars>
          <dgm:dir/>
          <dgm:resizeHandles val="exact"/>
        </dgm:presLayoutVars>
      </dgm:prSet>
      <dgm:spPr/>
    </dgm:pt>
    <dgm:pt modelId="{F0099DF3-908F-4C01-A837-0DF24B539985}" type="pres">
      <dgm:prSet presAssocID="{D57EF868-ADC0-442B-9465-1AFCA43EE7B8}" presName="arrow" presStyleLbl="bgShp" presStyleIdx="0" presStyleCnt="1"/>
      <dgm:spPr>
        <a:pattFill prst="dkUpDiag">
          <a:fgClr>
            <a:schemeClr val="bg2"/>
          </a:fgClr>
          <a:bgClr>
            <a:schemeClr val="bg1"/>
          </a:bgClr>
        </a:pattFill>
      </dgm:spPr>
    </dgm:pt>
    <dgm:pt modelId="{F4DBC8F6-73A7-42C1-8A9D-9D9207BB01D2}" type="pres">
      <dgm:prSet presAssocID="{D57EF868-ADC0-442B-9465-1AFCA43EE7B8}" presName="linearProcess" presStyleCnt="0"/>
      <dgm:spPr/>
    </dgm:pt>
    <dgm:pt modelId="{A76F786B-B66C-4FDB-90C4-123F58F7F212}" type="pres">
      <dgm:prSet presAssocID="{229A6F30-2228-41C9-8255-322CECA486D2}" presName="textNode" presStyleLbl="node1" presStyleIdx="0" presStyleCnt="4">
        <dgm:presLayoutVars>
          <dgm:bulletEnabled val="1"/>
        </dgm:presLayoutVars>
      </dgm:prSet>
      <dgm:spPr>
        <a:solidFill>
          <a:srgbClr val="FFFFCC"/>
        </a:solidFill>
      </dgm:spPr>
      <dgm:t>
        <a:bodyPr/>
        <a:lstStyle/>
        <a:p>
          <a:endParaRPr lang="de-DE"/>
        </a:p>
      </dgm:t>
    </dgm:pt>
    <dgm:pt modelId="{A4FE73AC-8723-4828-8C6C-7C7A216E8DFB}" type="pres">
      <dgm:prSet presAssocID="{AB4BDA57-901F-4F44-9355-9CDD350B64B3}" presName="sibTrans" presStyleCnt="0"/>
      <dgm:spPr/>
    </dgm:pt>
    <dgm:pt modelId="{A6832F74-1C61-4266-A128-714B6F508A8C}" type="pres">
      <dgm:prSet presAssocID="{51C860DA-684F-4B32-A5D2-A47211D96255}" presName="textNode" presStyleLbl="node1" presStyleIdx="1" presStyleCnt="4">
        <dgm:presLayoutVars>
          <dgm:bulletEnabled val="1"/>
        </dgm:presLayoutVars>
      </dgm:prSet>
      <dgm:spPr>
        <a:solidFill>
          <a:srgbClr val="FFFFCC"/>
        </a:solidFill>
      </dgm:spPr>
      <dgm:t>
        <a:bodyPr/>
        <a:lstStyle/>
        <a:p>
          <a:endParaRPr lang="de-DE"/>
        </a:p>
      </dgm:t>
    </dgm:pt>
    <dgm:pt modelId="{6E9ECD85-E8EF-41D3-9465-294C83EE0EB6}" type="pres">
      <dgm:prSet presAssocID="{238544B5-FED0-48FE-9493-F1B6B46F2D93}" presName="sibTrans" presStyleCnt="0"/>
      <dgm:spPr/>
    </dgm:pt>
    <dgm:pt modelId="{6A90F791-09B1-4598-90B2-9F5A6CD17C15}" type="pres">
      <dgm:prSet presAssocID="{F7478FF5-0B79-4ED0-B210-539FEEC0D587}" presName="textNode" presStyleLbl="node1" presStyleIdx="2" presStyleCnt="4">
        <dgm:presLayoutVars>
          <dgm:bulletEnabled val="1"/>
        </dgm:presLayoutVars>
      </dgm:prSet>
      <dgm:spPr>
        <a:solidFill>
          <a:srgbClr val="FFFFCC"/>
        </a:solidFill>
      </dgm:spPr>
      <dgm:t>
        <a:bodyPr/>
        <a:lstStyle/>
        <a:p>
          <a:endParaRPr lang="de-DE"/>
        </a:p>
      </dgm:t>
    </dgm:pt>
    <dgm:pt modelId="{F84310D4-2F30-402C-AD82-8B64976EE39C}" type="pres">
      <dgm:prSet presAssocID="{6E18DB17-22D5-407D-AB67-1D2C63643541}" presName="sibTrans" presStyleCnt="0"/>
      <dgm:spPr/>
    </dgm:pt>
    <dgm:pt modelId="{B1F8982B-8F3F-4F73-863F-9E7F7FB10264}" type="pres">
      <dgm:prSet presAssocID="{4A4761CE-EFEB-4312-B91D-83A0F62C3581}" presName="textNode" presStyleLbl="node1" presStyleIdx="3" presStyleCnt="4" custLinFactNeighborX="6708" custLinFactNeighborY="1403">
        <dgm:presLayoutVars>
          <dgm:bulletEnabled val="1"/>
        </dgm:presLayoutVars>
      </dgm:prSet>
      <dgm:spPr/>
      <dgm:t>
        <a:bodyPr/>
        <a:lstStyle/>
        <a:p>
          <a:endParaRPr lang="de-DE"/>
        </a:p>
      </dgm:t>
    </dgm:pt>
  </dgm:ptLst>
  <dgm:cxnLst>
    <dgm:cxn modelId="{DF64EDE1-D7F3-4CBD-9442-A20B3959EA0A}" type="presOf" srcId="{51C860DA-684F-4B32-A5D2-A47211D96255}" destId="{A6832F74-1C61-4266-A128-714B6F508A8C}" srcOrd="0" destOrd="0" presId="urn:microsoft.com/office/officeart/2005/8/layout/hProcess9"/>
    <dgm:cxn modelId="{CC2DAEA9-C608-42FC-9863-60322B8C05ED}" srcId="{D57EF868-ADC0-442B-9465-1AFCA43EE7B8}" destId="{4A4761CE-EFEB-4312-B91D-83A0F62C3581}" srcOrd="3" destOrd="0" parTransId="{A2AC1D40-ACA3-4A47-83E9-496DC604F3EC}" sibTransId="{51D8C75C-8E7E-4778-8B99-9A51CCD64DB7}"/>
    <dgm:cxn modelId="{2E27F43F-5D95-4EF9-A1FF-4C7AE88057AA}" srcId="{D57EF868-ADC0-442B-9465-1AFCA43EE7B8}" destId="{51C860DA-684F-4B32-A5D2-A47211D96255}" srcOrd="1" destOrd="0" parTransId="{2F27FC4A-2921-4B5E-BDAD-B2F896C280CF}" sibTransId="{238544B5-FED0-48FE-9493-F1B6B46F2D93}"/>
    <dgm:cxn modelId="{63B5F0A9-2832-44BB-83EA-889169AD1BDB}" type="presOf" srcId="{4A4761CE-EFEB-4312-B91D-83A0F62C3581}" destId="{B1F8982B-8F3F-4F73-863F-9E7F7FB10264}" srcOrd="0" destOrd="0" presId="urn:microsoft.com/office/officeart/2005/8/layout/hProcess9"/>
    <dgm:cxn modelId="{80E07249-32D8-4153-B4F0-9A85FF0E0ECF}" type="presOf" srcId="{229A6F30-2228-41C9-8255-322CECA486D2}" destId="{A76F786B-B66C-4FDB-90C4-123F58F7F212}" srcOrd="0" destOrd="0" presId="urn:microsoft.com/office/officeart/2005/8/layout/hProcess9"/>
    <dgm:cxn modelId="{18E23564-4001-41DF-9503-59F52924CCC1}" type="presOf" srcId="{D57EF868-ADC0-442B-9465-1AFCA43EE7B8}" destId="{85C78094-90D3-4746-9431-9BA52A57ED74}" srcOrd="0" destOrd="0" presId="urn:microsoft.com/office/officeart/2005/8/layout/hProcess9"/>
    <dgm:cxn modelId="{7094B32C-7863-46A5-B83D-0CE32867421F}" srcId="{D57EF868-ADC0-442B-9465-1AFCA43EE7B8}" destId="{229A6F30-2228-41C9-8255-322CECA486D2}" srcOrd="0" destOrd="0" parTransId="{190B48EB-3AFF-48D8-AB7A-76BF453D911E}" sibTransId="{AB4BDA57-901F-4F44-9355-9CDD350B64B3}"/>
    <dgm:cxn modelId="{4571E06B-6D65-4784-AAD5-CA79268006F4}" srcId="{D57EF868-ADC0-442B-9465-1AFCA43EE7B8}" destId="{F7478FF5-0B79-4ED0-B210-539FEEC0D587}" srcOrd="2" destOrd="0" parTransId="{B84E259E-9E0C-466F-B80A-A19AD053D4C0}" sibTransId="{6E18DB17-22D5-407D-AB67-1D2C63643541}"/>
    <dgm:cxn modelId="{82D7D781-230C-428E-BA0E-081A1E1C1B7F}" type="presOf" srcId="{F7478FF5-0B79-4ED0-B210-539FEEC0D587}" destId="{6A90F791-09B1-4598-90B2-9F5A6CD17C15}" srcOrd="0" destOrd="0" presId="urn:microsoft.com/office/officeart/2005/8/layout/hProcess9"/>
    <dgm:cxn modelId="{B5A99D38-4D67-4C9F-A23A-6DE766E46664}" type="presParOf" srcId="{85C78094-90D3-4746-9431-9BA52A57ED74}" destId="{F0099DF3-908F-4C01-A837-0DF24B539985}" srcOrd="0" destOrd="0" presId="urn:microsoft.com/office/officeart/2005/8/layout/hProcess9"/>
    <dgm:cxn modelId="{8B1745DE-BB43-4346-A089-DC45A36E6394}" type="presParOf" srcId="{85C78094-90D3-4746-9431-9BA52A57ED74}" destId="{F4DBC8F6-73A7-42C1-8A9D-9D9207BB01D2}" srcOrd="1" destOrd="0" presId="urn:microsoft.com/office/officeart/2005/8/layout/hProcess9"/>
    <dgm:cxn modelId="{6EA810B4-05C6-4020-A3DB-994B5EC8D0F5}" type="presParOf" srcId="{F4DBC8F6-73A7-42C1-8A9D-9D9207BB01D2}" destId="{A76F786B-B66C-4FDB-90C4-123F58F7F212}" srcOrd="0" destOrd="0" presId="urn:microsoft.com/office/officeart/2005/8/layout/hProcess9"/>
    <dgm:cxn modelId="{8B90C617-95D1-4781-BFE4-8D096D6ACF7D}" type="presParOf" srcId="{F4DBC8F6-73A7-42C1-8A9D-9D9207BB01D2}" destId="{A4FE73AC-8723-4828-8C6C-7C7A216E8DFB}" srcOrd="1" destOrd="0" presId="urn:microsoft.com/office/officeart/2005/8/layout/hProcess9"/>
    <dgm:cxn modelId="{965286A2-87D4-43D0-BF4C-DB75F7679C7F}" type="presParOf" srcId="{F4DBC8F6-73A7-42C1-8A9D-9D9207BB01D2}" destId="{A6832F74-1C61-4266-A128-714B6F508A8C}" srcOrd="2" destOrd="0" presId="urn:microsoft.com/office/officeart/2005/8/layout/hProcess9"/>
    <dgm:cxn modelId="{DD896CC2-EA3B-4AAC-9B7C-C91CCE4474EE}" type="presParOf" srcId="{F4DBC8F6-73A7-42C1-8A9D-9D9207BB01D2}" destId="{6E9ECD85-E8EF-41D3-9465-294C83EE0EB6}" srcOrd="3" destOrd="0" presId="urn:microsoft.com/office/officeart/2005/8/layout/hProcess9"/>
    <dgm:cxn modelId="{C7C1D81A-F3B7-4AAA-B33D-F9A025D791CF}" type="presParOf" srcId="{F4DBC8F6-73A7-42C1-8A9D-9D9207BB01D2}" destId="{6A90F791-09B1-4598-90B2-9F5A6CD17C15}" srcOrd="4" destOrd="0" presId="urn:microsoft.com/office/officeart/2005/8/layout/hProcess9"/>
    <dgm:cxn modelId="{8F659BD7-C341-4A3E-A6C9-124FB5FDDAF1}" type="presParOf" srcId="{F4DBC8F6-73A7-42C1-8A9D-9D9207BB01D2}" destId="{F84310D4-2F30-402C-AD82-8B64976EE39C}" srcOrd="5" destOrd="0" presId="urn:microsoft.com/office/officeart/2005/8/layout/hProcess9"/>
    <dgm:cxn modelId="{214A15B9-5C6F-40B4-804F-7E8554BE8EA1}" type="presParOf" srcId="{F4DBC8F6-73A7-42C1-8A9D-9D9207BB01D2}" destId="{B1F8982B-8F3F-4F73-863F-9E7F7FB10264}" srcOrd="6"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E3D977-BD83-4685-BF59-B4E775205835}" type="doc">
      <dgm:prSet loTypeId="urn:microsoft.com/office/officeart/2005/8/layout/vList3" loCatId="list" qsTypeId="urn:microsoft.com/office/officeart/2005/8/quickstyle/simple1" qsCatId="simple" csTypeId="urn:microsoft.com/office/officeart/2005/8/colors/accent1_2" csCatId="accent1" phldr="1"/>
      <dgm:spPr/>
    </dgm:pt>
    <dgm:pt modelId="{43D34FEE-939E-4DE2-92D2-9B7A969107C5}">
      <dgm:prSet phldrT="[Text]"/>
      <dgm:spPr>
        <a:solidFill>
          <a:srgbClr val="F1F193"/>
        </a:solidFill>
      </dgm:spPr>
      <dgm:t>
        <a:bodyPr/>
        <a:lstStyle/>
        <a:p>
          <a:r>
            <a:rPr lang="de-DE" dirty="0"/>
            <a:t>Planung</a:t>
          </a:r>
          <a:r>
            <a:rPr lang="de-DE" dirty="0">
              <a:latin typeface="TKTypeMedium"/>
            </a:rPr>
            <a:t>*</a:t>
          </a:r>
          <a:endParaRPr lang="de-DE" dirty="0"/>
        </a:p>
      </dgm:t>
    </dgm:pt>
    <dgm:pt modelId="{DA6EA656-EA11-4438-A2D5-D982718718D0}" type="parTrans" cxnId="{25D6E804-A483-4D9F-B28C-6E24ED55836C}">
      <dgm:prSet/>
      <dgm:spPr/>
      <dgm:t>
        <a:bodyPr/>
        <a:lstStyle/>
        <a:p>
          <a:endParaRPr lang="de-DE"/>
        </a:p>
      </dgm:t>
    </dgm:pt>
    <dgm:pt modelId="{216B9E09-2E9A-4693-ADDF-0E039526CDCC}" type="sibTrans" cxnId="{25D6E804-A483-4D9F-B28C-6E24ED55836C}">
      <dgm:prSet/>
      <dgm:spPr/>
      <dgm:t>
        <a:bodyPr/>
        <a:lstStyle/>
        <a:p>
          <a:endParaRPr lang="de-DE"/>
        </a:p>
      </dgm:t>
    </dgm:pt>
    <dgm:pt modelId="{83F8C451-1DFF-4A83-9F19-A5175A196816}">
      <dgm:prSet phldrT="[Text]"/>
      <dgm:spPr>
        <a:solidFill>
          <a:srgbClr val="92D050"/>
        </a:solidFill>
        <a:ln>
          <a:solidFill>
            <a:srgbClr val="92D050"/>
          </a:solidFill>
        </a:ln>
      </dgm:spPr>
      <dgm:t>
        <a:bodyPr/>
        <a:lstStyle/>
        <a:p>
          <a:r>
            <a:rPr lang="de-DE" dirty="0"/>
            <a:t>Durchführung</a:t>
          </a:r>
          <a:r>
            <a:rPr lang="de-DE" dirty="0">
              <a:latin typeface="TKTypeMedium"/>
            </a:rPr>
            <a:t>*</a:t>
          </a:r>
          <a:endParaRPr lang="de-DE" dirty="0"/>
        </a:p>
      </dgm:t>
    </dgm:pt>
    <dgm:pt modelId="{520A6C6D-9EAA-4EF9-930B-5914E91A5CC3}" type="parTrans" cxnId="{3A31F1BE-ED0F-4070-AAD0-0EAF644E2CE1}">
      <dgm:prSet/>
      <dgm:spPr/>
      <dgm:t>
        <a:bodyPr/>
        <a:lstStyle/>
        <a:p>
          <a:endParaRPr lang="de-DE"/>
        </a:p>
      </dgm:t>
    </dgm:pt>
    <dgm:pt modelId="{6B9A474A-49BD-4D09-BF90-EC2163267926}" type="sibTrans" cxnId="{3A31F1BE-ED0F-4070-AAD0-0EAF644E2CE1}">
      <dgm:prSet/>
      <dgm:spPr/>
      <dgm:t>
        <a:bodyPr/>
        <a:lstStyle/>
        <a:p>
          <a:endParaRPr lang="de-DE"/>
        </a:p>
      </dgm:t>
    </dgm:pt>
    <dgm:pt modelId="{8B6CE538-6C23-4922-9A3C-F74064BA602F}">
      <dgm:prSet phldrT="[Text]"/>
      <dgm:spPr>
        <a:solidFill>
          <a:srgbClr val="558ED5"/>
        </a:solidFill>
      </dgm:spPr>
      <dgm:t>
        <a:bodyPr/>
        <a:lstStyle/>
        <a:p>
          <a:r>
            <a:rPr lang="de-DE" dirty="0"/>
            <a:t>Bewertung</a:t>
          </a:r>
          <a:r>
            <a:rPr lang="de-DE" dirty="0">
              <a:latin typeface="TKTypeMedium"/>
            </a:rPr>
            <a:t>*</a:t>
          </a:r>
          <a:endParaRPr lang="de-DE" dirty="0"/>
        </a:p>
      </dgm:t>
    </dgm:pt>
    <dgm:pt modelId="{83F1352E-362F-4A4E-98CF-DE3B3D5E7EA2}" type="parTrans" cxnId="{DA27C392-EC60-4748-9FA4-4DBC98D3048B}">
      <dgm:prSet/>
      <dgm:spPr/>
      <dgm:t>
        <a:bodyPr/>
        <a:lstStyle/>
        <a:p>
          <a:endParaRPr lang="de-DE"/>
        </a:p>
      </dgm:t>
    </dgm:pt>
    <dgm:pt modelId="{6921E84B-628E-4D0D-9786-EAC94317444D}" type="sibTrans" cxnId="{DA27C392-EC60-4748-9FA4-4DBC98D3048B}">
      <dgm:prSet/>
      <dgm:spPr/>
      <dgm:t>
        <a:bodyPr/>
        <a:lstStyle/>
        <a:p>
          <a:endParaRPr lang="de-DE"/>
        </a:p>
      </dgm:t>
    </dgm:pt>
    <dgm:pt modelId="{DD2AAC99-9E4E-4859-9899-5C38A25BD50E}" type="pres">
      <dgm:prSet presAssocID="{DBE3D977-BD83-4685-BF59-B4E775205835}" presName="linearFlow" presStyleCnt="0">
        <dgm:presLayoutVars>
          <dgm:dir/>
          <dgm:resizeHandles val="exact"/>
        </dgm:presLayoutVars>
      </dgm:prSet>
      <dgm:spPr/>
    </dgm:pt>
    <dgm:pt modelId="{9EA7CA2D-7F04-4EA5-B78C-4C88D0749EF0}" type="pres">
      <dgm:prSet presAssocID="{43D34FEE-939E-4DE2-92D2-9B7A969107C5}" presName="composite" presStyleCnt="0"/>
      <dgm:spPr/>
    </dgm:pt>
    <dgm:pt modelId="{EEB60B08-DE18-47F4-AF93-A4FE1EEF3730}" type="pres">
      <dgm:prSet presAssocID="{43D34FEE-939E-4DE2-92D2-9B7A969107C5}"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37000" r="-37000"/>
          </a:stretch>
        </a:blipFill>
        <a:ln>
          <a:solidFill>
            <a:srgbClr val="F1F193"/>
          </a:solidFill>
        </a:ln>
      </dgm:spPr>
    </dgm:pt>
    <dgm:pt modelId="{DC04D7A7-EC6E-4BCB-A385-3B0B3D2F0CD0}" type="pres">
      <dgm:prSet presAssocID="{43D34FEE-939E-4DE2-92D2-9B7A969107C5}" presName="txShp" presStyleLbl="node1" presStyleIdx="0" presStyleCnt="3" custLinFactNeighborX="3453" custLinFactNeighborY="-86959">
        <dgm:presLayoutVars>
          <dgm:bulletEnabled val="1"/>
        </dgm:presLayoutVars>
      </dgm:prSet>
      <dgm:spPr/>
      <dgm:t>
        <a:bodyPr/>
        <a:lstStyle/>
        <a:p>
          <a:endParaRPr lang="de-DE"/>
        </a:p>
      </dgm:t>
    </dgm:pt>
    <dgm:pt modelId="{CB745E5F-DCB3-4251-8B8F-66F1F83638E2}" type="pres">
      <dgm:prSet presAssocID="{216B9E09-2E9A-4693-ADDF-0E039526CDCC}" presName="spacing" presStyleCnt="0"/>
      <dgm:spPr/>
    </dgm:pt>
    <dgm:pt modelId="{463A851D-F30E-4C04-99AF-1D3CB63E2CA0}" type="pres">
      <dgm:prSet presAssocID="{83F8C451-1DFF-4A83-9F19-A5175A196816}" presName="composite" presStyleCnt="0"/>
      <dgm:spPr/>
    </dgm:pt>
    <dgm:pt modelId="{917F9E7B-A053-488F-A708-83B2E3237B92}" type="pres">
      <dgm:prSet presAssocID="{83F8C451-1DFF-4A83-9F19-A5175A196816}" presName="imgShp"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37000" r="-37000"/>
          </a:stretch>
        </a:blipFill>
        <a:ln>
          <a:solidFill>
            <a:srgbClr val="92D050"/>
          </a:solidFill>
        </a:ln>
      </dgm:spPr>
    </dgm:pt>
    <dgm:pt modelId="{4E0FFBB5-17B8-4AFD-A060-276F9E1F9C1D}" type="pres">
      <dgm:prSet presAssocID="{83F8C451-1DFF-4A83-9F19-A5175A196816}" presName="txShp" presStyleLbl="node1" presStyleIdx="1" presStyleCnt="3">
        <dgm:presLayoutVars>
          <dgm:bulletEnabled val="1"/>
        </dgm:presLayoutVars>
      </dgm:prSet>
      <dgm:spPr/>
      <dgm:t>
        <a:bodyPr/>
        <a:lstStyle/>
        <a:p>
          <a:endParaRPr lang="de-DE"/>
        </a:p>
      </dgm:t>
    </dgm:pt>
    <dgm:pt modelId="{ABF92193-4012-4D3F-8006-66630891397D}" type="pres">
      <dgm:prSet presAssocID="{6B9A474A-49BD-4D09-BF90-EC2163267926}" presName="spacing" presStyleCnt="0"/>
      <dgm:spPr/>
    </dgm:pt>
    <dgm:pt modelId="{A3EECDC5-FF55-4EE7-8B54-EB0D679A774F}" type="pres">
      <dgm:prSet presAssocID="{8B6CE538-6C23-4922-9A3C-F74064BA602F}" presName="composite" presStyleCnt="0"/>
      <dgm:spPr/>
    </dgm:pt>
    <dgm:pt modelId="{F1A2F206-764E-4545-9CA5-DF58106137B7}" type="pres">
      <dgm:prSet presAssocID="{8B6CE538-6C23-4922-9A3C-F74064BA602F}" presName="imgShp" presStyleLbl="fgImgPlace1" presStyleIdx="2" presStyleCnt="3" custFlipVert="1" custScaleX="94510" custScaleY="85122"/>
      <dgm:spPr>
        <a:blipFill>
          <a:blip xmlns:r="http://schemas.openxmlformats.org/officeDocument/2006/relationships" r:embed="rId3">
            <a:extLst>
              <a:ext uri="{28A0092B-C50C-407E-A947-70E740481C1C}">
                <a14:useLocalDpi xmlns:a14="http://schemas.microsoft.com/office/drawing/2010/main" val="0"/>
              </a:ext>
            </a:extLst>
          </a:blip>
          <a:srcRect/>
          <a:stretch>
            <a:fillRect t="-6000" b="-6000"/>
          </a:stretch>
        </a:blipFill>
        <a:ln>
          <a:solidFill>
            <a:srgbClr val="558ED5"/>
          </a:solidFill>
        </a:ln>
      </dgm:spPr>
    </dgm:pt>
    <dgm:pt modelId="{CD5AE923-A9D3-4CA0-922A-A7C71150345C}" type="pres">
      <dgm:prSet presAssocID="{8B6CE538-6C23-4922-9A3C-F74064BA602F}" presName="txShp" presStyleLbl="node1" presStyleIdx="2" presStyleCnt="3">
        <dgm:presLayoutVars>
          <dgm:bulletEnabled val="1"/>
        </dgm:presLayoutVars>
      </dgm:prSet>
      <dgm:spPr/>
      <dgm:t>
        <a:bodyPr/>
        <a:lstStyle/>
        <a:p>
          <a:endParaRPr lang="de-DE"/>
        </a:p>
      </dgm:t>
    </dgm:pt>
  </dgm:ptLst>
  <dgm:cxnLst>
    <dgm:cxn modelId="{25D6E804-A483-4D9F-B28C-6E24ED55836C}" srcId="{DBE3D977-BD83-4685-BF59-B4E775205835}" destId="{43D34FEE-939E-4DE2-92D2-9B7A969107C5}" srcOrd="0" destOrd="0" parTransId="{DA6EA656-EA11-4438-A2D5-D982718718D0}" sibTransId="{216B9E09-2E9A-4693-ADDF-0E039526CDCC}"/>
    <dgm:cxn modelId="{A8DF12F5-633A-4B79-923C-5E1DC9BBA3D9}" type="presOf" srcId="{83F8C451-1DFF-4A83-9F19-A5175A196816}" destId="{4E0FFBB5-17B8-4AFD-A060-276F9E1F9C1D}" srcOrd="0" destOrd="0" presId="urn:microsoft.com/office/officeart/2005/8/layout/vList3"/>
    <dgm:cxn modelId="{DA27C392-EC60-4748-9FA4-4DBC98D3048B}" srcId="{DBE3D977-BD83-4685-BF59-B4E775205835}" destId="{8B6CE538-6C23-4922-9A3C-F74064BA602F}" srcOrd="2" destOrd="0" parTransId="{83F1352E-362F-4A4E-98CF-DE3B3D5E7EA2}" sibTransId="{6921E84B-628E-4D0D-9786-EAC94317444D}"/>
    <dgm:cxn modelId="{BEE541C9-B2B0-4ECA-8AD0-C358C7863931}" type="presOf" srcId="{43D34FEE-939E-4DE2-92D2-9B7A969107C5}" destId="{DC04D7A7-EC6E-4BCB-A385-3B0B3D2F0CD0}" srcOrd="0" destOrd="0" presId="urn:microsoft.com/office/officeart/2005/8/layout/vList3"/>
    <dgm:cxn modelId="{41C04558-ECCF-44A2-ADF2-3256DED1409D}" type="presOf" srcId="{DBE3D977-BD83-4685-BF59-B4E775205835}" destId="{DD2AAC99-9E4E-4859-9899-5C38A25BD50E}" srcOrd="0" destOrd="0" presId="urn:microsoft.com/office/officeart/2005/8/layout/vList3"/>
    <dgm:cxn modelId="{3A31F1BE-ED0F-4070-AAD0-0EAF644E2CE1}" srcId="{DBE3D977-BD83-4685-BF59-B4E775205835}" destId="{83F8C451-1DFF-4A83-9F19-A5175A196816}" srcOrd="1" destOrd="0" parTransId="{520A6C6D-9EAA-4EF9-930B-5914E91A5CC3}" sibTransId="{6B9A474A-49BD-4D09-BF90-EC2163267926}"/>
    <dgm:cxn modelId="{00502F75-9F8A-43E6-BAD2-994EA351077B}" type="presOf" srcId="{8B6CE538-6C23-4922-9A3C-F74064BA602F}" destId="{CD5AE923-A9D3-4CA0-922A-A7C71150345C}" srcOrd="0" destOrd="0" presId="urn:microsoft.com/office/officeart/2005/8/layout/vList3"/>
    <dgm:cxn modelId="{97456603-8D04-4489-840F-7BA7E4C3EFA0}" type="presParOf" srcId="{DD2AAC99-9E4E-4859-9899-5C38A25BD50E}" destId="{9EA7CA2D-7F04-4EA5-B78C-4C88D0749EF0}" srcOrd="0" destOrd="0" presId="urn:microsoft.com/office/officeart/2005/8/layout/vList3"/>
    <dgm:cxn modelId="{4068EC95-CEB2-485D-8ABC-D52B0EE7DBD4}" type="presParOf" srcId="{9EA7CA2D-7F04-4EA5-B78C-4C88D0749EF0}" destId="{EEB60B08-DE18-47F4-AF93-A4FE1EEF3730}" srcOrd="0" destOrd="0" presId="urn:microsoft.com/office/officeart/2005/8/layout/vList3"/>
    <dgm:cxn modelId="{68F917FA-3CCD-46C6-BA4F-D7D24444DDC6}" type="presParOf" srcId="{9EA7CA2D-7F04-4EA5-B78C-4C88D0749EF0}" destId="{DC04D7A7-EC6E-4BCB-A385-3B0B3D2F0CD0}" srcOrd="1" destOrd="0" presId="urn:microsoft.com/office/officeart/2005/8/layout/vList3"/>
    <dgm:cxn modelId="{0774D104-18F7-4E66-90F3-15E3EA3B72F3}" type="presParOf" srcId="{DD2AAC99-9E4E-4859-9899-5C38A25BD50E}" destId="{CB745E5F-DCB3-4251-8B8F-66F1F83638E2}" srcOrd="1" destOrd="0" presId="urn:microsoft.com/office/officeart/2005/8/layout/vList3"/>
    <dgm:cxn modelId="{AD9C5DD0-B085-4B1A-B8E6-C93952EDF732}" type="presParOf" srcId="{DD2AAC99-9E4E-4859-9899-5C38A25BD50E}" destId="{463A851D-F30E-4C04-99AF-1D3CB63E2CA0}" srcOrd="2" destOrd="0" presId="urn:microsoft.com/office/officeart/2005/8/layout/vList3"/>
    <dgm:cxn modelId="{66EA759A-E7EF-4C90-B207-7DDFC7A973A5}" type="presParOf" srcId="{463A851D-F30E-4C04-99AF-1D3CB63E2CA0}" destId="{917F9E7B-A053-488F-A708-83B2E3237B92}" srcOrd="0" destOrd="0" presId="urn:microsoft.com/office/officeart/2005/8/layout/vList3"/>
    <dgm:cxn modelId="{5B9DBD61-7A89-4844-9BEC-B2D27F7509B4}" type="presParOf" srcId="{463A851D-F30E-4C04-99AF-1D3CB63E2CA0}" destId="{4E0FFBB5-17B8-4AFD-A060-276F9E1F9C1D}" srcOrd="1" destOrd="0" presId="urn:microsoft.com/office/officeart/2005/8/layout/vList3"/>
    <dgm:cxn modelId="{6184D01C-2C0B-436C-9461-AF7E8DC3BE1F}" type="presParOf" srcId="{DD2AAC99-9E4E-4859-9899-5C38A25BD50E}" destId="{ABF92193-4012-4D3F-8006-66630891397D}" srcOrd="3" destOrd="0" presId="urn:microsoft.com/office/officeart/2005/8/layout/vList3"/>
    <dgm:cxn modelId="{14E0EE91-A3F3-49DB-B6EA-4F09F8F708EF}" type="presParOf" srcId="{DD2AAC99-9E4E-4859-9899-5C38A25BD50E}" destId="{A3EECDC5-FF55-4EE7-8B54-EB0D679A774F}" srcOrd="4" destOrd="0" presId="urn:microsoft.com/office/officeart/2005/8/layout/vList3"/>
    <dgm:cxn modelId="{4D72C64A-E9F9-4BF1-8852-E3E50C12106A}" type="presParOf" srcId="{A3EECDC5-FF55-4EE7-8B54-EB0D679A774F}" destId="{F1A2F206-764E-4545-9CA5-DF58106137B7}" srcOrd="0" destOrd="0" presId="urn:microsoft.com/office/officeart/2005/8/layout/vList3"/>
    <dgm:cxn modelId="{8DFC12F2-6702-4BCB-BEDD-68F790680CB7}" type="presParOf" srcId="{A3EECDC5-FF55-4EE7-8B54-EB0D679A774F}" destId="{CD5AE923-A9D3-4CA0-922A-A7C71150345C}"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84B53BE-F675-4517-B3CE-2C21536AB64E}"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de-DE"/>
        </a:p>
      </dgm:t>
    </dgm:pt>
    <dgm:pt modelId="{75E1CCB3-2BF2-413A-82CB-33F5E8C4BE54}">
      <dgm:prSet phldrT="[Text]"/>
      <dgm:spPr>
        <a:solidFill>
          <a:srgbClr val="92D050"/>
        </a:solidFill>
      </dgm:spPr>
      <dgm:t>
        <a:bodyPr/>
        <a:lstStyle/>
        <a:p>
          <a:r>
            <a:rPr lang="de-DE" dirty="0"/>
            <a:t>Informations- </a:t>
          </a:r>
          <a:r>
            <a:rPr lang="de-DE" dirty="0" err="1"/>
            <a:t>austausch</a:t>
          </a:r>
          <a:endParaRPr lang="de-DE" dirty="0"/>
        </a:p>
      </dgm:t>
    </dgm:pt>
    <dgm:pt modelId="{F7758BE7-56A7-48B5-94DD-CFA9E961E1FC}" type="parTrans" cxnId="{C2B48688-7308-4CB3-A459-F41C05B38417}">
      <dgm:prSet/>
      <dgm:spPr/>
      <dgm:t>
        <a:bodyPr/>
        <a:lstStyle/>
        <a:p>
          <a:endParaRPr lang="de-DE"/>
        </a:p>
      </dgm:t>
    </dgm:pt>
    <dgm:pt modelId="{808D5301-05F9-4BD7-B9D4-FCEEF2F4E138}" type="sibTrans" cxnId="{C2B48688-7308-4CB3-A459-F41C05B38417}">
      <dgm:prSet/>
      <dgm:spPr/>
      <dgm:t>
        <a:bodyPr/>
        <a:lstStyle/>
        <a:p>
          <a:endParaRPr lang="de-DE"/>
        </a:p>
      </dgm:t>
    </dgm:pt>
    <dgm:pt modelId="{8AEA11C0-069F-4717-9248-25F005DE0567}">
      <dgm:prSet phldrT="[Text]" custT="1"/>
      <dgm:spPr>
        <a:solidFill>
          <a:srgbClr val="558ED5"/>
        </a:solidFill>
      </dgm:spPr>
      <dgm:t>
        <a:bodyPr/>
        <a:lstStyle/>
        <a:p>
          <a:r>
            <a:rPr lang="de-DE" sz="1400" dirty="0"/>
            <a:t>Klassen-pflegschaft</a:t>
          </a:r>
          <a:endParaRPr lang="de-DE" sz="700" dirty="0"/>
        </a:p>
      </dgm:t>
    </dgm:pt>
    <dgm:pt modelId="{CE66FD43-BB05-41E7-B118-AE3EA5EB87BA}" type="parTrans" cxnId="{1D66A56E-AD98-4545-A843-FF1364A9AF9B}">
      <dgm:prSet/>
      <dgm:spPr/>
      <dgm:t>
        <a:bodyPr/>
        <a:lstStyle/>
        <a:p>
          <a:endParaRPr lang="de-DE"/>
        </a:p>
      </dgm:t>
    </dgm:pt>
    <dgm:pt modelId="{FE9DAC68-4AC8-410A-B6FD-8014E77D715C}" type="sibTrans" cxnId="{1D66A56E-AD98-4545-A843-FF1364A9AF9B}">
      <dgm:prSet/>
      <dgm:spPr>
        <a:solidFill>
          <a:schemeClr val="bg2"/>
        </a:solidFill>
      </dgm:spPr>
      <dgm:t>
        <a:bodyPr/>
        <a:lstStyle/>
        <a:p>
          <a:endParaRPr lang="de-DE"/>
        </a:p>
      </dgm:t>
    </dgm:pt>
    <dgm:pt modelId="{557D3809-2A41-4A02-BE7E-93872FEB5867}">
      <dgm:prSet phldrT="[Text]" custT="1"/>
      <dgm:spPr>
        <a:solidFill>
          <a:srgbClr val="558ED5"/>
        </a:solidFill>
      </dgm:spPr>
      <dgm:t>
        <a:bodyPr/>
        <a:lstStyle/>
        <a:p>
          <a:r>
            <a:rPr lang="de-DE" sz="1400" dirty="0"/>
            <a:t>Eltern-/ Schülersprechtag</a:t>
          </a:r>
        </a:p>
      </dgm:t>
    </dgm:pt>
    <dgm:pt modelId="{BF41EEB3-83EF-4541-9CB2-9D00A8A3FFB2}" type="parTrans" cxnId="{6087F2BD-93C6-415F-85AB-5442E24D77C9}">
      <dgm:prSet/>
      <dgm:spPr/>
      <dgm:t>
        <a:bodyPr/>
        <a:lstStyle/>
        <a:p>
          <a:endParaRPr lang="de-DE"/>
        </a:p>
      </dgm:t>
    </dgm:pt>
    <dgm:pt modelId="{A101F5B5-96D1-464B-A83F-AA79D734C956}" type="sibTrans" cxnId="{6087F2BD-93C6-415F-85AB-5442E24D77C9}">
      <dgm:prSet/>
      <dgm:spPr>
        <a:solidFill>
          <a:schemeClr val="bg2"/>
        </a:solidFill>
      </dgm:spPr>
      <dgm:t>
        <a:bodyPr/>
        <a:lstStyle/>
        <a:p>
          <a:endParaRPr lang="de-DE"/>
        </a:p>
      </dgm:t>
    </dgm:pt>
    <dgm:pt modelId="{0AB5D50D-6901-4204-9552-07494A75CA38}">
      <dgm:prSet phldrT="[Text]" custT="1"/>
      <dgm:spPr>
        <a:solidFill>
          <a:srgbClr val="558ED5"/>
        </a:solidFill>
      </dgm:spPr>
      <dgm:t>
        <a:bodyPr/>
        <a:lstStyle/>
        <a:p>
          <a:r>
            <a:rPr lang="de-DE" sz="1400" dirty="0"/>
            <a:t>Info-abende</a:t>
          </a:r>
        </a:p>
      </dgm:t>
    </dgm:pt>
    <dgm:pt modelId="{33D6AA1A-9D3E-4021-9D01-51CF5D6ABEC9}" type="parTrans" cxnId="{0AB4725B-9B97-428E-BAD3-BCAF0DCC6B0B}">
      <dgm:prSet/>
      <dgm:spPr/>
      <dgm:t>
        <a:bodyPr/>
        <a:lstStyle/>
        <a:p>
          <a:endParaRPr lang="de-DE"/>
        </a:p>
      </dgm:t>
    </dgm:pt>
    <dgm:pt modelId="{AE3AA03F-F355-44EC-8A89-69781C1ADA9B}" type="sibTrans" cxnId="{0AB4725B-9B97-428E-BAD3-BCAF0DCC6B0B}">
      <dgm:prSet/>
      <dgm:spPr>
        <a:solidFill>
          <a:schemeClr val="bg2"/>
        </a:solidFill>
      </dgm:spPr>
      <dgm:t>
        <a:bodyPr/>
        <a:lstStyle/>
        <a:p>
          <a:endParaRPr lang="de-DE"/>
        </a:p>
      </dgm:t>
    </dgm:pt>
    <dgm:pt modelId="{6D3FB17A-4893-4BC3-8198-FFC6D9FE4B9A}">
      <dgm:prSet phldrT="[Text]" custT="1"/>
      <dgm:spPr>
        <a:solidFill>
          <a:srgbClr val="558ED5"/>
        </a:solidFill>
      </dgm:spPr>
      <dgm:t>
        <a:bodyPr/>
        <a:lstStyle/>
        <a:p>
          <a:r>
            <a:rPr lang="de-DE" sz="1400" dirty="0"/>
            <a:t>Log-</a:t>
          </a:r>
        </a:p>
        <a:p>
          <a:r>
            <a:rPr lang="de-DE" sz="1400" dirty="0"/>
            <a:t>Buch</a:t>
          </a:r>
        </a:p>
      </dgm:t>
    </dgm:pt>
    <dgm:pt modelId="{59FBC255-1A4E-4484-95F5-C088CD72A639}" type="parTrans" cxnId="{C78DE611-B815-4401-915D-E78EA650995E}">
      <dgm:prSet/>
      <dgm:spPr/>
      <dgm:t>
        <a:bodyPr/>
        <a:lstStyle/>
        <a:p>
          <a:endParaRPr lang="de-DE"/>
        </a:p>
      </dgm:t>
    </dgm:pt>
    <dgm:pt modelId="{2C3651B1-4186-4F7E-B2CD-2715D6B828B3}" type="sibTrans" cxnId="{C78DE611-B815-4401-915D-E78EA650995E}">
      <dgm:prSet/>
      <dgm:spPr>
        <a:solidFill>
          <a:schemeClr val="bg2"/>
        </a:solidFill>
      </dgm:spPr>
      <dgm:t>
        <a:bodyPr/>
        <a:lstStyle/>
        <a:p>
          <a:endParaRPr lang="de-DE"/>
        </a:p>
      </dgm:t>
    </dgm:pt>
    <dgm:pt modelId="{14BB3FCC-9FB0-4F42-9CC7-5FBF3CBEDE48}">
      <dgm:prSet custT="1"/>
      <dgm:spPr>
        <a:solidFill>
          <a:srgbClr val="558ED5"/>
        </a:solidFill>
      </dgm:spPr>
      <dgm:t>
        <a:bodyPr/>
        <a:lstStyle/>
        <a:p>
          <a:r>
            <a:rPr lang="de-DE" sz="1400" dirty="0"/>
            <a:t>Sprech-stunden</a:t>
          </a:r>
        </a:p>
      </dgm:t>
    </dgm:pt>
    <dgm:pt modelId="{FA77EC73-EEF6-4C61-AD50-5B397C215364}" type="parTrans" cxnId="{4BB979B8-671F-46AF-9EE1-65BA35C195A1}">
      <dgm:prSet/>
      <dgm:spPr/>
      <dgm:t>
        <a:bodyPr/>
        <a:lstStyle/>
        <a:p>
          <a:endParaRPr lang="de-DE"/>
        </a:p>
      </dgm:t>
    </dgm:pt>
    <dgm:pt modelId="{86AC4194-6C1A-4A89-B985-21AD7C0361AA}" type="sibTrans" cxnId="{4BB979B8-671F-46AF-9EE1-65BA35C195A1}">
      <dgm:prSet/>
      <dgm:spPr>
        <a:solidFill>
          <a:schemeClr val="bg2"/>
        </a:solidFill>
      </dgm:spPr>
      <dgm:t>
        <a:bodyPr/>
        <a:lstStyle/>
        <a:p>
          <a:endParaRPr lang="de-DE"/>
        </a:p>
      </dgm:t>
    </dgm:pt>
    <dgm:pt modelId="{4BDA1B71-F69E-49B7-B21A-B21B23E9B203}">
      <dgm:prSet custT="1"/>
      <dgm:spPr>
        <a:solidFill>
          <a:srgbClr val="558ED5"/>
        </a:solidFill>
      </dgm:spPr>
      <dgm:t>
        <a:bodyPr/>
        <a:lstStyle/>
        <a:p>
          <a:r>
            <a:rPr lang="de-DE" sz="1400" dirty="0"/>
            <a:t>Persönliche Gespräche</a:t>
          </a:r>
        </a:p>
      </dgm:t>
    </dgm:pt>
    <dgm:pt modelId="{D4C6B1AF-60E1-4E9C-9319-87FE67FBE5A6}" type="parTrans" cxnId="{F3B7CD81-EE3D-44EE-97BA-5090A4EA19AA}">
      <dgm:prSet/>
      <dgm:spPr/>
      <dgm:t>
        <a:bodyPr/>
        <a:lstStyle/>
        <a:p>
          <a:endParaRPr lang="de-DE"/>
        </a:p>
      </dgm:t>
    </dgm:pt>
    <dgm:pt modelId="{A3AA73C0-E9EA-4265-B125-9277D4221042}" type="sibTrans" cxnId="{F3B7CD81-EE3D-44EE-97BA-5090A4EA19AA}">
      <dgm:prSet/>
      <dgm:spPr>
        <a:solidFill>
          <a:schemeClr val="bg2"/>
        </a:solidFill>
      </dgm:spPr>
      <dgm:t>
        <a:bodyPr/>
        <a:lstStyle/>
        <a:p>
          <a:endParaRPr lang="de-DE"/>
        </a:p>
      </dgm:t>
    </dgm:pt>
    <dgm:pt modelId="{B8BFC654-B9F1-4B4C-8267-A639835B4DA4}">
      <dgm:prSet phldrT="[Text]" custT="1"/>
      <dgm:spPr>
        <a:solidFill>
          <a:srgbClr val="558ED5"/>
        </a:solidFill>
      </dgm:spPr>
      <dgm:t>
        <a:bodyPr/>
        <a:lstStyle/>
        <a:p>
          <a:r>
            <a:rPr lang="de-DE" sz="1400" dirty="0"/>
            <a:t>(…)</a:t>
          </a:r>
        </a:p>
      </dgm:t>
    </dgm:pt>
    <dgm:pt modelId="{FABC7F72-873E-42C0-A599-430A96B5C08F}" type="parTrans" cxnId="{3A520FEE-6B5C-4279-87B3-945E5ED1A5A9}">
      <dgm:prSet/>
      <dgm:spPr/>
      <dgm:t>
        <a:bodyPr/>
        <a:lstStyle/>
        <a:p>
          <a:endParaRPr lang="de-DE"/>
        </a:p>
      </dgm:t>
    </dgm:pt>
    <dgm:pt modelId="{0AAA2A09-E2A6-48DD-8882-313359225764}" type="sibTrans" cxnId="{3A520FEE-6B5C-4279-87B3-945E5ED1A5A9}">
      <dgm:prSet/>
      <dgm:spPr>
        <a:solidFill>
          <a:schemeClr val="bg2"/>
        </a:solidFill>
      </dgm:spPr>
      <dgm:t>
        <a:bodyPr/>
        <a:lstStyle/>
        <a:p>
          <a:endParaRPr lang="de-DE"/>
        </a:p>
      </dgm:t>
    </dgm:pt>
    <dgm:pt modelId="{128C9860-7F85-4EFB-92ED-A8D1E99C1964}" type="pres">
      <dgm:prSet presAssocID="{384B53BE-F675-4517-B3CE-2C21536AB64E}" presName="Name0" presStyleCnt="0">
        <dgm:presLayoutVars>
          <dgm:chMax val="1"/>
          <dgm:dir/>
          <dgm:animLvl val="ctr"/>
          <dgm:resizeHandles val="exact"/>
        </dgm:presLayoutVars>
      </dgm:prSet>
      <dgm:spPr/>
      <dgm:t>
        <a:bodyPr/>
        <a:lstStyle/>
        <a:p>
          <a:endParaRPr lang="de-DE"/>
        </a:p>
      </dgm:t>
    </dgm:pt>
    <dgm:pt modelId="{473F6743-846F-4BB9-892C-1DD2B235B7D1}" type="pres">
      <dgm:prSet presAssocID="{75E1CCB3-2BF2-413A-82CB-33F5E8C4BE54}" presName="centerShape" presStyleLbl="node0" presStyleIdx="0" presStyleCnt="1" custLinFactNeighborX="-804" custLinFactNeighborY="-3397"/>
      <dgm:spPr/>
      <dgm:t>
        <a:bodyPr/>
        <a:lstStyle/>
        <a:p>
          <a:endParaRPr lang="de-DE"/>
        </a:p>
      </dgm:t>
    </dgm:pt>
    <dgm:pt modelId="{7DD81091-6461-4DBF-96E7-DCF2D98EA454}" type="pres">
      <dgm:prSet presAssocID="{8AEA11C0-069F-4717-9248-25F005DE0567}" presName="node" presStyleLbl="node1" presStyleIdx="0" presStyleCnt="7" custScaleX="169188" custRadScaleRad="87894" custRadScaleInc="-28">
        <dgm:presLayoutVars>
          <dgm:bulletEnabled val="1"/>
        </dgm:presLayoutVars>
      </dgm:prSet>
      <dgm:spPr/>
      <dgm:t>
        <a:bodyPr/>
        <a:lstStyle/>
        <a:p>
          <a:endParaRPr lang="de-DE"/>
        </a:p>
      </dgm:t>
    </dgm:pt>
    <dgm:pt modelId="{C134971C-171B-49D2-936F-4AEC3C41FF71}" type="pres">
      <dgm:prSet presAssocID="{8AEA11C0-069F-4717-9248-25F005DE0567}" presName="dummy" presStyleCnt="0"/>
      <dgm:spPr/>
    </dgm:pt>
    <dgm:pt modelId="{74C6E956-CDC8-47DE-9BCA-3F1B51BAF29A}" type="pres">
      <dgm:prSet presAssocID="{FE9DAC68-4AC8-410A-B6FD-8014E77D715C}" presName="sibTrans" presStyleLbl="sibTrans2D1" presStyleIdx="0" presStyleCnt="7"/>
      <dgm:spPr/>
      <dgm:t>
        <a:bodyPr/>
        <a:lstStyle/>
        <a:p>
          <a:endParaRPr lang="de-DE"/>
        </a:p>
      </dgm:t>
    </dgm:pt>
    <dgm:pt modelId="{4D51E35F-8107-48C4-9242-FBA39D818F9E}" type="pres">
      <dgm:prSet presAssocID="{14BB3FCC-9FB0-4F42-9CC7-5FBF3CBEDE48}" presName="node" presStyleLbl="node1" presStyleIdx="1" presStyleCnt="7" custScaleX="123628" custRadScaleRad="97226" custRadScaleInc="-897">
        <dgm:presLayoutVars>
          <dgm:bulletEnabled val="1"/>
        </dgm:presLayoutVars>
      </dgm:prSet>
      <dgm:spPr/>
      <dgm:t>
        <a:bodyPr/>
        <a:lstStyle/>
        <a:p>
          <a:endParaRPr lang="de-DE"/>
        </a:p>
      </dgm:t>
    </dgm:pt>
    <dgm:pt modelId="{230CFB00-F4D6-4E11-9DC3-75D27E47332D}" type="pres">
      <dgm:prSet presAssocID="{14BB3FCC-9FB0-4F42-9CC7-5FBF3CBEDE48}" presName="dummy" presStyleCnt="0"/>
      <dgm:spPr/>
    </dgm:pt>
    <dgm:pt modelId="{0FA3A3C9-B204-4044-94B1-6EEA93AB1220}" type="pres">
      <dgm:prSet presAssocID="{86AC4194-6C1A-4A89-B985-21AD7C0361AA}" presName="sibTrans" presStyleLbl="sibTrans2D1" presStyleIdx="1" presStyleCnt="7"/>
      <dgm:spPr/>
      <dgm:t>
        <a:bodyPr/>
        <a:lstStyle/>
        <a:p>
          <a:endParaRPr lang="de-DE"/>
        </a:p>
      </dgm:t>
    </dgm:pt>
    <dgm:pt modelId="{F82D467E-DD5C-4CD0-8DB1-BC91D0067FAC}" type="pres">
      <dgm:prSet presAssocID="{4BDA1B71-F69E-49B7-B21A-B21B23E9B203}" presName="node" presStyleLbl="node1" presStyleIdx="2" presStyleCnt="7" custScaleX="155650" custRadScaleRad="82985" custRadScaleInc="-72547">
        <dgm:presLayoutVars>
          <dgm:bulletEnabled val="1"/>
        </dgm:presLayoutVars>
      </dgm:prSet>
      <dgm:spPr/>
      <dgm:t>
        <a:bodyPr/>
        <a:lstStyle/>
        <a:p>
          <a:endParaRPr lang="de-DE"/>
        </a:p>
      </dgm:t>
    </dgm:pt>
    <dgm:pt modelId="{91A1E533-B0A7-4AC9-A4E8-8410BDEB63D2}" type="pres">
      <dgm:prSet presAssocID="{4BDA1B71-F69E-49B7-B21A-B21B23E9B203}" presName="dummy" presStyleCnt="0"/>
      <dgm:spPr/>
    </dgm:pt>
    <dgm:pt modelId="{C357D92B-0433-49E8-B4BB-30E393B4BFBD}" type="pres">
      <dgm:prSet presAssocID="{A3AA73C0-E9EA-4265-B125-9277D4221042}" presName="sibTrans" presStyleLbl="sibTrans2D1" presStyleIdx="2" presStyleCnt="7"/>
      <dgm:spPr/>
      <dgm:t>
        <a:bodyPr/>
        <a:lstStyle/>
        <a:p>
          <a:endParaRPr lang="de-DE"/>
        </a:p>
      </dgm:t>
    </dgm:pt>
    <dgm:pt modelId="{6EA212D3-A04B-4624-A46E-24D669E130BB}" type="pres">
      <dgm:prSet presAssocID="{557D3809-2A41-4A02-BE7E-93872FEB5867}" presName="node" presStyleLbl="node1" presStyleIdx="3" presStyleCnt="7" custScaleX="237360" custRadScaleRad="87605" custRadScaleInc="-105024">
        <dgm:presLayoutVars>
          <dgm:bulletEnabled val="1"/>
        </dgm:presLayoutVars>
      </dgm:prSet>
      <dgm:spPr/>
      <dgm:t>
        <a:bodyPr/>
        <a:lstStyle/>
        <a:p>
          <a:endParaRPr lang="de-DE"/>
        </a:p>
      </dgm:t>
    </dgm:pt>
    <dgm:pt modelId="{B0345BE1-FD36-4D09-A4D2-A34E07CB7637}" type="pres">
      <dgm:prSet presAssocID="{557D3809-2A41-4A02-BE7E-93872FEB5867}" presName="dummy" presStyleCnt="0"/>
      <dgm:spPr/>
    </dgm:pt>
    <dgm:pt modelId="{7D78BC74-5F31-441C-9D7D-1013BFE788E9}" type="pres">
      <dgm:prSet presAssocID="{A101F5B5-96D1-464B-A83F-AA79D734C956}" presName="sibTrans" presStyleLbl="sibTrans2D1" presStyleIdx="3" presStyleCnt="7"/>
      <dgm:spPr/>
      <dgm:t>
        <a:bodyPr/>
        <a:lstStyle/>
        <a:p>
          <a:endParaRPr lang="de-DE"/>
        </a:p>
      </dgm:t>
    </dgm:pt>
    <dgm:pt modelId="{FCD5746F-ACBA-43A0-9C63-3D352742A6BB}" type="pres">
      <dgm:prSet presAssocID="{0AB5D50D-6901-4204-9552-07494A75CA38}" presName="node" presStyleLbl="node1" presStyleIdx="4" presStyleCnt="7" custScaleX="123628" custRadScaleRad="82672" custRadScaleInc="56334">
        <dgm:presLayoutVars>
          <dgm:bulletEnabled val="1"/>
        </dgm:presLayoutVars>
      </dgm:prSet>
      <dgm:spPr/>
      <dgm:t>
        <a:bodyPr/>
        <a:lstStyle/>
        <a:p>
          <a:endParaRPr lang="de-DE"/>
        </a:p>
      </dgm:t>
    </dgm:pt>
    <dgm:pt modelId="{B050BD1E-F0AE-4CA4-A38E-48C8B8A73154}" type="pres">
      <dgm:prSet presAssocID="{0AB5D50D-6901-4204-9552-07494A75CA38}" presName="dummy" presStyleCnt="0"/>
      <dgm:spPr/>
    </dgm:pt>
    <dgm:pt modelId="{230D7EA6-DF66-4609-B207-F0A6A1510B6F}" type="pres">
      <dgm:prSet presAssocID="{AE3AA03F-F355-44EC-8A89-69781C1ADA9B}" presName="sibTrans" presStyleLbl="sibTrans2D1" presStyleIdx="4" presStyleCnt="7"/>
      <dgm:spPr/>
      <dgm:t>
        <a:bodyPr/>
        <a:lstStyle/>
        <a:p>
          <a:endParaRPr lang="de-DE"/>
        </a:p>
      </dgm:t>
    </dgm:pt>
    <dgm:pt modelId="{00ED20AC-D6A1-4966-9D81-7F3A8DF8F1F2}" type="pres">
      <dgm:prSet presAssocID="{6D3FB17A-4893-4BC3-8198-FFC6D9FE4B9A}" presName="node" presStyleLbl="node1" presStyleIdx="5" presStyleCnt="7" custScaleX="123628" custRadScaleRad="80675" custRadScaleInc="25112">
        <dgm:presLayoutVars>
          <dgm:bulletEnabled val="1"/>
        </dgm:presLayoutVars>
      </dgm:prSet>
      <dgm:spPr/>
      <dgm:t>
        <a:bodyPr/>
        <a:lstStyle/>
        <a:p>
          <a:endParaRPr lang="de-DE"/>
        </a:p>
      </dgm:t>
    </dgm:pt>
    <dgm:pt modelId="{A1EE4B8F-36CE-4938-A494-6A06D6ABBB43}" type="pres">
      <dgm:prSet presAssocID="{6D3FB17A-4893-4BC3-8198-FFC6D9FE4B9A}" presName="dummy" presStyleCnt="0"/>
      <dgm:spPr/>
    </dgm:pt>
    <dgm:pt modelId="{BF898D41-D9F7-4A93-9B2F-12B4D5138213}" type="pres">
      <dgm:prSet presAssocID="{2C3651B1-4186-4F7E-B2CD-2715D6B828B3}" presName="sibTrans" presStyleLbl="sibTrans2D1" presStyleIdx="5" presStyleCnt="7"/>
      <dgm:spPr/>
      <dgm:t>
        <a:bodyPr/>
        <a:lstStyle/>
        <a:p>
          <a:endParaRPr lang="de-DE"/>
        </a:p>
      </dgm:t>
    </dgm:pt>
    <dgm:pt modelId="{18D034CC-1C4B-4782-ABDA-B776613D5E3D}" type="pres">
      <dgm:prSet presAssocID="{B8BFC654-B9F1-4B4C-8267-A639835B4DA4}" presName="node" presStyleLbl="node1" presStyleIdx="6" presStyleCnt="7" custScaleX="123628" custRadScaleRad="94583" custRadScaleInc="-10021">
        <dgm:presLayoutVars>
          <dgm:bulletEnabled val="1"/>
        </dgm:presLayoutVars>
      </dgm:prSet>
      <dgm:spPr/>
      <dgm:t>
        <a:bodyPr/>
        <a:lstStyle/>
        <a:p>
          <a:endParaRPr lang="de-DE"/>
        </a:p>
      </dgm:t>
    </dgm:pt>
    <dgm:pt modelId="{6A1AA8AE-D7B3-4536-A003-E5B0D962E837}" type="pres">
      <dgm:prSet presAssocID="{B8BFC654-B9F1-4B4C-8267-A639835B4DA4}" presName="dummy" presStyleCnt="0"/>
      <dgm:spPr/>
    </dgm:pt>
    <dgm:pt modelId="{6EB15EB3-32BF-4130-AF96-845130024DD7}" type="pres">
      <dgm:prSet presAssocID="{0AAA2A09-E2A6-48DD-8882-313359225764}" presName="sibTrans" presStyleLbl="sibTrans2D1" presStyleIdx="6" presStyleCnt="7"/>
      <dgm:spPr/>
      <dgm:t>
        <a:bodyPr/>
        <a:lstStyle/>
        <a:p>
          <a:endParaRPr lang="de-DE"/>
        </a:p>
      </dgm:t>
    </dgm:pt>
  </dgm:ptLst>
  <dgm:cxnLst>
    <dgm:cxn modelId="{B6A7AF3F-3501-4011-997D-CB7B290E258D}" type="presOf" srcId="{14BB3FCC-9FB0-4F42-9CC7-5FBF3CBEDE48}" destId="{4D51E35F-8107-48C4-9242-FBA39D818F9E}" srcOrd="0" destOrd="0" presId="urn:microsoft.com/office/officeart/2005/8/layout/radial6"/>
    <dgm:cxn modelId="{BDC97222-361A-42AA-AAB6-C5D85E9D11E8}" type="presOf" srcId="{6D3FB17A-4893-4BC3-8198-FFC6D9FE4B9A}" destId="{00ED20AC-D6A1-4966-9D81-7F3A8DF8F1F2}" srcOrd="0" destOrd="0" presId="urn:microsoft.com/office/officeart/2005/8/layout/radial6"/>
    <dgm:cxn modelId="{3F4B5CB2-A015-4B5F-BD99-23546EB58188}" type="presOf" srcId="{A101F5B5-96D1-464B-A83F-AA79D734C956}" destId="{7D78BC74-5F31-441C-9D7D-1013BFE788E9}" srcOrd="0" destOrd="0" presId="urn:microsoft.com/office/officeart/2005/8/layout/radial6"/>
    <dgm:cxn modelId="{5D2A7B61-AC88-4BBB-A985-299F9521B603}" type="presOf" srcId="{AE3AA03F-F355-44EC-8A89-69781C1ADA9B}" destId="{230D7EA6-DF66-4609-B207-F0A6A1510B6F}" srcOrd="0" destOrd="0" presId="urn:microsoft.com/office/officeart/2005/8/layout/radial6"/>
    <dgm:cxn modelId="{69C73473-DEFE-4002-95CF-46F072359BCB}" type="presOf" srcId="{75E1CCB3-2BF2-413A-82CB-33F5E8C4BE54}" destId="{473F6743-846F-4BB9-892C-1DD2B235B7D1}" srcOrd="0" destOrd="0" presId="urn:microsoft.com/office/officeart/2005/8/layout/radial6"/>
    <dgm:cxn modelId="{BD770167-E582-4165-BCDF-AEA8FEAF28BD}" type="presOf" srcId="{8AEA11C0-069F-4717-9248-25F005DE0567}" destId="{7DD81091-6461-4DBF-96E7-DCF2D98EA454}" srcOrd="0" destOrd="0" presId="urn:microsoft.com/office/officeart/2005/8/layout/radial6"/>
    <dgm:cxn modelId="{E404FD2E-DEA4-4B25-BB5E-632EB03FAF4B}" type="presOf" srcId="{A3AA73C0-E9EA-4265-B125-9277D4221042}" destId="{C357D92B-0433-49E8-B4BB-30E393B4BFBD}" srcOrd="0" destOrd="0" presId="urn:microsoft.com/office/officeart/2005/8/layout/radial6"/>
    <dgm:cxn modelId="{F3B7CD81-EE3D-44EE-97BA-5090A4EA19AA}" srcId="{75E1CCB3-2BF2-413A-82CB-33F5E8C4BE54}" destId="{4BDA1B71-F69E-49B7-B21A-B21B23E9B203}" srcOrd="2" destOrd="0" parTransId="{D4C6B1AF-60E1-4E9C-9319-87FE67FBE5A6}" sibTransId="{A3AA73C0-E9EA-4265-B125-9277D4221042}"/>
    <dgm:cxn modelId="{6B3EE0FC-9454-4858-9190-98B94BE3EF3D}" type="presOf" srcId="{4BDA1B71-F69E-49B7-B21A-B21B23E9B203}" destId="{F82D467E-DD5C-4CD0-8DB1-BC91D0067FAC}" srcOrd="0" destOrd="0" presId="urn:microsoft.com/office/officeart/2005/8/layout/radial6"/>
    <dgm:cxn modelId="{6199756F-A6A1-497E-87C2-FE174092DF30}" type="presOf" srcId="{557D3809-2A41-4A02-BE7E-93872FEB5867}" destId="{6EA212D3-A04B-4624-A46E-24D669E130BB}" srcOrd="0" destOrd="0" presId="urn:microsoft.com/office/officeart/2005/8/layout/radial6"/>
    <dgm:cxn modelId="{C58DBF78-0C0B-4D83-AB27-F1D484C5641F}" type="presOf" srcId="{B8BFC654-B9F1-4B4C-8267-A639835B4DA4}" destId="{18D034CC-1C4B-4782-ABDA-B776613D5E3D}" srcOrd="0" destOrd="0" presId="urn:microsoft.com/office/officeart/2005/8/layout/radial6"/>
    <dgm:cxn modelId="{2FB04E18-0F30-466B-B293-512079F3DF1A}" type="presOf" srcId="{0AAA2A09-E2A6-48DD-8882-313359225764}" destId="{6EB15EB3-32BF-4130-AF96-845130024DD7}" srcOrd="0" destOrd="0" presId="urn:microsoft.com/office/officeart/2005/8/layout/radial6"/>
    <dgm:cxn modelId="{622F0C81-2B83-40E5-BD76-3A11D6E6409D}" type="presOf" srcId="{FE9DAC68-4AC8-410A-B6FD-8014E77D715C}" destId="{74C6E956-CDC8-47DE-9BCA-3F1B51BAF29A}" srcOrd="0" destOrd="0" presId="urn:microsoft.com/office/officeart/2005/8/layout/radial6"/>
    <dgm:cxn modelId="{C2B48688-7308-4CB3-A459-F41C05B38417}" srcId="{384B53BE-F675-4517-B3CE-2C21536AB64E}" destId="{75E1CCB3-2BF2-413A-82CB-33F5E8C4BE54}" srcOrd="0" destOrd="0" parTransId="{F7758BE7-56A7-48B5-94DD-CFA9E961E1FC}" sibTransId="{808D5301-05F9-4BD7-B9D4-FCEEF2F4E138}"/>
    <dgm:cxn modelId="{24F70A78-F46F-4A0A-96B0-B6B7A515F797}" type="presOf" srcId="{384B53BE-F675-4517-B3CE-2C21536AB64E}" destId="{128C9860-7F85-4EFB-92ED-A8D1E99C1964}" srcOrd="0" destOrd="0" presId="urn:microsoft.com/office/officeart/2005/8/layout/radial6"/>
    <dgm:cxn modelId="{3A520FEE-6B5C-4279-87B3-945E5ED1A5A9}" srcId="{75E1CCB3-2BF2-413A-82CB-33F5E8C4BE54}" destId="{B8BFC654-B9F1-4B4C-8267-A639835B4DA4}" srcOrd="6" destOrd="0" parTransId="{FABC7F72-873E-42C0-A599-430A96B5C08F}" sibTransId="{0AAA2A09-E2A6-48DD-8882-313359225764}"/>
    <dgm:cxn modelId="{0AB4725B-9B97-428E-BAD3-BCAF0DCC6B0B}" srcId="{75E1CCB3-2BF2-413A-82CB-33F5E8C4BE54}" destId="{0AB5D50D-6901-4204-9552-07494A75CA38}" srcOrd="4" destOrd="0" parTransId="{33D6AA1A-9D3E-4021-9D01-51CF5D6ABEC9}" sibTransId="{AE3AA03F-F355-44EC-8A89-69781C1ADA9B}"/>
    <dgm:cxn modelId="{C78DE611-B815-4401-915D-E78EA650995E}" srcId="{75E1CCB3-2BF2-413A-82CB-33F5E8C4BE54}" destId="{6D3FB17A-4893-4BC3-8198-FFC6D9FE4B9A}" srcOrd="5" destOrd="0" parTransId="{59FBC255-1A4E-4484-95F5-C088CD72A639}" sibTransId="{2C3651B1-4186-4F7E-B2CD-2715D6B828B3}"/>
    <dgm:cxn modelId="{1F9777DA-E9E1-4831-94B8-599C30FF3F42}" type="presOf" srcId="{0AB5D50D-6901-4204-9552-07494A75CA38}" destId="{FCD5746F-ACBA-43A0-9C63-3D352742A6BB}" srcOrd="0" destOrd="0" presId="urn:microsoft.com/office/officeart/2005/8/layout/radial6"/>
    <dgm:cxn modelId="{6087F2BD-93C6-415F-85AB-5442E24D77C9}" srcId="{75E1CCB3-2BF2-413A-82CB-33F5E8C4BE54}" destId="{557D3809-2A41-4A02-BE7E-93872FEB5867}" srcOrd="3" destOrd="0" parTransId="{BF41EEB3-83EF-4541-9CB2-9D00A8A3FFB2}" sibTransId="{A101F5B5-96D1-464B-A83F-AA79D734C956}"/>
    <dgm:cxn modelId="{BA0B9AF2-4E4B-43C5-820B-DBE419308E0F}" type="presOf" srcId="{2C3651B1-4186-4F7E-B2CD-2715D6B828B3}" destId="{BF898D41-D9F7-4A93-9B2F-12B4D5138213}" srcOrd="0" destOrd="0" presId="urn:microsoft.com/office/officeart/2005/8/layout/radial6"/>
    <dgm:cxn modelId="{4BB979B8-671F-46AF-9EE1-65BA35C195A1}" srcId="{75E1CCB3-2BF2-413A-82CB-33F5E8C4BE54}" destId="{14BB3FCC-9FB0-4F42-9CC7-5FBF3CBEDE48}" srcOrd="1" destOrd="0" parTransId="{FA77EC73-EEF6-4C61-AD50-5B397C215364}" sibTransId="{86AC4194-6C1A-4A89-B985-21AD7C0361AA}"/>
    <dgm:cxn modelId="{1D66A56E-AD98-4545-A843-FF1364A9AF9B}" srcId="{75E1CCB3-2BF2-413A-82CB-33F5E8C4BE54}" destId="{8AEA11C0-069F-4717-9248-25F005DE0567}" srcOrd="0" destOrd="0" parTransId="{CE66FD43-BB05-41E7-B118-AE3EA5EB87BA}" sibTransId="{FE9DAC68-4AC8-410A-B6FD-8014E77D715C}"/>
    <dgm:cxn modelId="{C2E03D03-88F4-43A6-BB76-E1E2272F9B0B}" type="presOf" srcId="{86AC4194-6C1A-4A89-B985-21AD7C0361AA}" destId="{0FA3A3C9-B204-4044-94B1-6EEA93AB1220}" srcOrd="0" destOrd="0" presId="urn:microsoft.com/office/officeart/2005/8/layout/radial6"/>
    <dgm:cxn modelId="{F204EC65-2449-4743-8A8F-4D5F04CE312C}" type="presParOf" srcId="{128C9860-7F85-4EFB-92ED-A8D1E99C1964}" destId="{473F6743-846F-4BB9-892C-1DD2B235B7D1}" srcOrd="0" destOrd="0" presId="urn:microsoft.com/office/officeart/2005/8/layout/radial6"/>
    <dgm:cxn modelId="{24EC5812-2DE4-4DFD-812A-A793C7B1374B}" type="presParOf" srcId="{128C9860-7F85-4EFB-92ED-A8D1E99C1964}" destId="{7DD81091-6461-4DBF-96E7-DCF2D98EA454}" srcOrd="1" destOrd="0" presId="urn:microsoft.com/office/officeart/2005/8/layout/radial6"/>
    <dgm:cxn modelId="{37DF9E67-0C9C-42EF-B158-75B9C7A19C7D}" type="presParOf" srcId="{128C9860-7F85-4EFB-92ED-A8D1E99C1964}" destId="{C134971C-171B-49D2-936F-4AEC3C41FF71}" srcOrd="2" destOrd="0" presId="urn:microsoft.com/office/officeart/2005/8/layout/radial6"/>
    <dgm:cxn modelId="{96999730-CE6C-45CA-A321-EB3F1BC0FA2F}" type="presParOf" srcId="{128C9860-7F85-4EFB-92ED-A8D1E99C1964}" destId="{74C6E956-CDC8-47DE-9BCA-3F1B51BAF29A}" srcOrd="3" destOrd="0" presId="urn:microsoft.com/office/officeart/2005/8/layout/radial6"/>
    <dgm:cxn modelId="{381CDCE9-DB9C-4452-B232-6513AF2B723E}" type="presParOf" srcId="{128C9860-7F85-4EFB-92ED-A8D1E99C1964}" destId="{4D51E35F-8107-48C4-9242-FBA39D818F9E}" srcOrd="4" destOrd="0" presId="urn:microsoft.com/office/officeart/2005/8/layout/radial6"/>
    <dgm:cxn modelId="{43150E5D-2448-430B-BB4A-EB59BAB54042}" type="presParOf" srcId="{128C9860-7F85-4EFB-92ED-A8D1E99C1964}" destId="{230CFB00-F4D6-4E11-9DC3-75D27E47332D}" srcOrd="5" destOrd="0" presId="urn:microsoft.com/office/officeart/2005/8/layout/radial6"/>
    <dgm:cxn modelId="{F84B3B1C-0C77-47B7-8FA5-8F38CE7FBB36}" type="presParOf" srcId="{128C9860-7F85-4EFB-92ED-A8D1E99C1964}" destId="{0FA3A3C9-B204-4044-94B1-6EEA93AB1220}" srcOrd="6" destOrd="0" presId="urn:microsoft.com/office/officeart/2005/8/layout/radial6"/>
    <dgm:cxn modelId="{013273EE-6C08-4760-94FB-DBA1ABB45E3C}" type="presParOf" srcId="{128C9860-7F85-4EFB-92ED-A8D1E99C1964}" destId="{F82D467E-DD5C-4CD0-8DB1-BC91D0067FAC}" srcOrd="7" destOrd="0" presId="urn:microsoft.com/office/officeart/2005/8/layout/radial6"/>
    <dgm:cxn modelId="{A12A4734-ADDD-4DF2-B335-77BDB201C2DA}" type="presParOf" srcId="{128C9860-7F85-4EFB-92ED-A8D1E99C1964}" destId="{91A1E533-B0A7-4AC9-A4E8-8410BDEB63D2}" srcOrd="8" destOrd="0" presId="urn:microsoft.com/office/officeart/2005/8/layout/radial6"/>
    <dgm:cxn modelId="{1B417EBE-57B1-4EDC-8CC1-74DD1344FEDC}" type="presParOf" srcId="{128C9860-7F85-4EFB-92ED-A8D1E99C1964}" destId="{C357D92B-0433-49E8-B4BB-30E393B4BFBD}" srcOrd="9" destOrd="0" presId="urn:microsoft.com/office/officeart/2005/8/layout/radial6"/>
    <dgm:cxn modelId="{B70C90BC-5C49-4879-9ED7-116B6046A498}" type="presParOf" srcId="{128C9860-7F85-4EFB-92ED-A8D1E99C1964}" destId="{6EA212D3-A04B-4624-A46E-24D669E130BB}" srcOrd="10" destOrd="0" presId="urn:microsoft.com/office/officeart/2005/8/layout/radial6"/>
    <dgm:cxn modelId="{2317D859-E636-4E87-B6A6-B47E0C08DDF6}" type="presParOf" srcId="{128C9860-7F85-4EFB-92ED-A8D1E99C1964}" destId="{B0345BE1-FD36-4D09-A4D2-A34E07CB7637}" srcOrd="11" destOrd="0" presId="urn:microsoft.com/office/officeart/2005/8/layout/radial6"/>
    <dgm:cxn modelId="{F5A98EEB-CD02-42F2-A81B-BD65AFEE3C2C}" type="presParOf" srcId="{128C9860-7F85-4EFB-92ED-A8D1E99C1964}" destId="{7D78BC74-5F31-441C-9D7D-1013BFE788E9}" srcOrd="12" destOrd="0" presId="urn:microsoft.com/office/officeart/2005/8/layout/radial6"/>
    <dgm:cxn modelId="{5D99CC79-9A9A-45C4-BE22-59A1F4A9A40C}" type="presParOf" srcId="{128C9860-7F85-4EFB-92ED-A8D1E99C1964}" destId="{FCD5746F-ACBA-43A0-9C63-3D352742A6BB}" srcOrd="13" destOrd="0" presId="urn:microsoft.com/office/officeart/2005/8/layout/radial6"/>
    <dgm:cxn modelId="{D5CEC8D6-E901-4A97-B2D1-A3B270EA87DD}" type="presParOf" srcId="{128C9860-7F85-4EFB-92ED-A8D1E99C1964}" destId="{B050BD1E-F0AE-4CA4-A38E-48C8B8A73154}" srcOrd="14" destOrd="0" presId="urn:microsoft.com/office/officeart/2005/8/layout/radial6"/>
    <dgm:cxn modelId="{C4AD1C1D-7721-4485-94C9-947C815E51A4}" type="presParOf" srcId="{128C9860-7F85-4EFB-92ED-A8D1E99C1964}" destId="{230D7EA6-DF66-4609-B207-F0A6A1510B6F}" srcOrd="15" destOrd="0" presId="urn:microsoft.com/office/officeart/2005/8/layout/radial6"/>
    <dgm:cxn modelId="{AAD8FFC5-3527-48B1-B0BE-67BE864C3D77}" type="presParOf" srcId="{128C9860-7F85-4EFB-92ED-A8D1E99C1964}" destId="{00ED20AC-D6A1-4966-9D81-7F3A8DF8F1F2}" srcOrd="16" destOrd="0" presId="urn:microsoft.com/office/officeart/2005/8/layout/radial6"/>
    <dgm:cxn modelId="{E293A0D1-86A5-421A-B8B6-C35D27A7796C}" type="presParOf" srcId="{128C9860-7F85-4EFB-92ED-A8D1E99C1964}" destId="{A1EE4B8F-36CE-4938-A494-6A06D6ABBB43}" srcOrd="17" destOrd="0" presId="urn:microsoft.com/office/officeart/2005/8/layout/radial6"/>
    <dgm:cxn modelId="{26A7CB02-A73C-4587-9B5B-8A3386F3BB53}" type="presParOf" srcId="{128C9860-7F85-4EFB-92ED-A8D1E99C1964}" destId="{BF898D41-D9F7-4A93-9B2F-12B4D5138213}" srcOrd="18" destOrd="0" presId="urn:microsoft.com/office/officeart/2005/8/layout/radial6"/>
    <dgm:cxn modelId="{EC39D343-CA78-4A37-A05B-F26D20EAA38D}" type="presParOf" srcId="{128C9860-7F85-4EFB-92ED-A8D1E99C1964}" destId="{18D034CC-1C4B-4782-ABDA-B776613D5E3D}" srcOrd="19" destOrd="0" presId="urn:microsoft.com/office/officeart/2005/8/layout/radial6"/>
    <dgm:cxn modelId="{37121C8A-4FE0-462D-B50C-EDEED580316E}" type="presParOf" srcId="{128C9860-7F85-4EFB-92ED-A8D1E99C1964}" destId="{6A1AA8AE-D7B3-4536-A003-E5B0D962E837}" srcOrd="20" destOrd="0" presId="urn:microsoft.com/office/officeart/2005/8/layout/radial6"/>
    <dgm:cxn modelId="{5F68C995-8A77-4D89-AE92-BEA9D8D19147}" type="presParOf" srcId="{128C9860-7F85-4EFB-92ED-A8D1E99C1964}" destId="{6EB15EB3-32BF-4130-AF96-845130024DD7}" srcOrd="21"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303F7EA-774C-4256-BD91-2B571B9AF28D}" type="doc">
      <dgm:prSet loTypeId="urn:microsoft.com/office/officeart/2005/8/layout/gear1" loCatId="cycle" qsTypeId="urn:microsoft.com/office/officeart/2005/8/quickstyle/simple1" qsCatId="simple" csTypeId="urn:microsoft.com/office/officeart/2005/8/colors/accent1_2" csCatId="accent1" phldr="1"/>
      <dgm:spPr/>
    </dgm:pt>
    <dgm:pt modelId="{A85570AF-FB93-4D52-8A49-8BC6A9EE12AE}">
      <dgm:prSet phldrT="[Text]" custT="1"/>
      <dgm:spPr>
        <a:solidFill>
          <a:srgbClr val="92D050"/>
        </a:solidFill>
      </dgm:spPr>
      <dgm:t>
        <a:bodyPr/>
        <a:lstStyle/>
        <a:p>
          <a:r>
            <a:rPr lang="de-DE" sz="1400" dirty="0">
              <a:solidFill>
                <a:schemeClr val="bg2">
                  <a:lumMod val="50000"/>
                </a:schemeClr>
              </a:solidFill>
            </a:rPr>
            <a:t>Elternpflegschaft/ Schulpflegschaft /Schulkonferenz</a:t>
          </a:r>
        </a:p>
      </dgm:t>
    </dgm:pt>
    <dgm:pt modelId="{686CEA3B-E6F6-46D1-BDAE-573FFFB25A1B}" type="parTrans" cxnId="{C590C3DC-F83D-4F33-8998-00B49A173B6D}">
      <dgm:prSet/>
      <dgm:spPr/>
      <dgm:t>
        <a:bodyPr/>
        <a:lstStyle/>
        <a:p>
          <a:endParaRPr lang="de-DE"/>
        </a:p>
      </dgm:t>
    </dgm:pt>
    <dgm:pt modelId="{46C3AA05-DA5F-4F1A-9EA7-3BE252781617}" type="sibTrans" cxnId="{C590C3DC-F83D-4F33-8998-00B49A173B6D}">
      <dgm:prSet/>
      <dgm:spPr>
        <a:solidFill>
          <a:schemeClr val="tx2"/>
        </a:solidFill>
      </dgm:spPr>
      <dgm:t>
        <a:bodyPr/>
        <a:lstStyle/>
        <a:p>
          <a:endParaRPr lang="de-DE"/>
        </a:p>
      </dgm:t>
    </dgm:pt>
    <dgm:pt modelId="{D8F497C1-9104-410E-8EEC-E5B209178639}">
      <dgm:prSet custT="1"/>
      <dgm:spPr>
        <a:solidFill>
          <a:srgbClr val="558ED5"/>
        </a:solidFill>
      </dgm:spPr>
      <dgm:t>
        <a:bodyPr/>
        <a:lstStyle/>
        <a:p>
          <a:r>
            <a:rPr lang="de-DE" sz="1400" dirty="0"/>
            <a:t>Mitwirkung in AGs</a:t>
          </a:r>
        </a:p>
      </dgm:t>
    </dgm:pt>
    <dgm:pt modelId="{59ABF079-0625-44E7-961B-E51D45FDC216}" type="parTrans" cxnId="{9B582ED7-53AB-436E-B1F7-C3410A3615DB}">
      <dgm:prSet/>
      <dgm:spPr/>
      <dgm:t>
        <a:bodyPr/>
        <a:lstStyle/>
        <a:p>
          <a:endParaRPr lang="de-DE"/>
        </a:p>
      </dgm:t>
    </dgm:pt>
    <dgm:pt modelId="{B4EBE533-D7C1-4F2C-BF13-10A3DB56343D}" type="sibTrans" cxnId="{9B582ED7-53AB-436E-B1F7-C3410A3615DB}">
      <dgm:prSet/>
      <dgm:spPr>
        <a:solidFill>
          <a:schemeClr val="tx2"/>
        </a:solidFill>
      </dgm:spPr>
      <dgm:t>
        <a:bodyPr/>
        <a:lstStyle/>
        <a:p>
          <a:endParaRPr lang="de-DE"/>
        </a:p>
      </dgm:t>
    </dgm:pt>
    <dgm:pt modelId="{23D49099-CED5-42B2-9F70-76A0A93E9513}">
      <dgm:prSet custT="1"/>
      <dgm:spPr>
        <a:solidFill>
          <a:schemeClr val="tx1"/>
        </a:solidFill>
      </dgm:spPr>
      <dgm:t>
        <a:bodyPr/>
        <a:lstStyle/>
        <a:p>
          <a:r>
            <a:rPr lang="de-DE" sz="1400" dirty="0"/>
            <a:t>Mitgliedschaft im Förderverein</a:t>
          </a:r>
        </a:p>
      </dgm:t>
    </dgm:pt>
    <dgm:pt modelId="{6EBA3E7F-9FF7-470D-8A8C-332C4ECEC2CE}" type="parTrans" cxnId="{492EA2BB-3702-4003-889B-13969E587383}">
      <dgm:prSet/>
      <dgm:spPr/>
      <dgm:t>
        <a:bodyPr/>
        <a:lstStyle/>
        <a:p>
          <a:endParaRPr lang="de-DE"/>
        </a:p>
      </dgm:t>
    </dgm:pt>
    <dgm:pt modelId="{5BF2D17B-CCFC-42F8-ABC0-DA2A97CBB25D}" type="sibTrans" cxnId="{492EA2BB-3702-4003-889B-13969E587383}">
      <dgm:prSet/>
      <dgm:spPr>
        <a:solidFill>
          <a:schemeClr val="tx2"/>
        </a:solidFill>
      </dgm:spPr>
      <dgm:t>
        <a:bodyPr/>
        <a:lstStyle/>
        <a:p>
          <a:endParaRPr lang="de-DE"/>
        </a:p>
      </dgm:t>
    </dgm:pt>
    <dgm:pt modelId="{651767BA-002D-44D5-8FA8-3B9C7252164F}">
      <dgm:prSet custT="1"/>
      <dgm:spPr>
        <a:solidFill>
          <a:schemeClr val="tx2">
            <a:lumMod val="60000"/>
            <a:lumOff val="40000"/>
          </a:schemeClr>
        </a:solidFill>
      </dgm:spPr>
      <dgm:t>
        <a:bodyPr/>
        <a:lstStyle/>
        <a:p>
          <a:endParaRPr lang="de-DE" sz="1400" dirty="0"/>
        </a:p>
      </dgm:t>
    </dgm:pt>
    <dgm:pt modelId="{2AFB73C0-2C0B-450E-BC87-EA59D2D9260D}" type="parTrans" cxnId="{93580CDF-3AC9-4FAF-B91F-4DCCFF8F60BC}">
      <dgm:prSet/>
      <dgm:spPr/>
      <dgm:t>
        <a:bodyPr/>
        <a:lstStyle/>
        <a:p>
          <a:endParaRPr lang="de-DE"/>
        </a:p>
      </dgm:t>
    </dgm:pt>
    <dgm:pt modelId="{05A8A326-7755-4928-A45B-4105B210DAAD}" type="sibTrans" cxnId="{93580CDF-3AC9-4FAF-B91F-4DCCFF8F60BC}">
      <dgm:prSet/>
      <dgm:spPr/>
      <dgm:t>
        <a:bodyPr/>
        <a:lstStyle/>
        <a:p>
          <a:endParaRPr lang="de-DE"/>
        </a:p>
      </dgm:t>
    </dgm:pt>
    <dgm:pt modelId="{BC33E5F4-18E4-4130-9079-9747A5E93506}">
      <dgm:prSet custT="1"/>
      <dgm:spPr>
        <a:solidFill>
          <a:schemeClr val="tx2">
            <a:lumMod val="60000"/>
            <a:lumOff val="40000"/>
          </a:schemeClr>
        </a:solidFill>
      </dgm:spPr>
      <dgm:t>
        <a:bodyPr/>
        <a:lstStyle/>
        <a:p>
          <a:endParaRPr lang="de-DE"/>
        </a:p>
      </dgm:t>
    </dgm:pt>
    <dgm:pt modelId="{E9E056A1-7882-4445-95A9-1F8ECF1C97C1}" type="parTrans" cxnId="{30563A1C-4A30-4B29-A743-BA05C68AC5ED}">
      <dgm:prSet/>
      <dgm:spPr/>
      <dgm:t>
        <a:bodyPr/>
        <a:lstStyle/>
        <a:p>
          <a:endParaRPr lang="de-DE"/>
        </a:p>
      </dgm:t>
    </dgm:pt>
    <dgm:pt modelId="{3102F403-DA6D-4AB1-A736-CE49BEF5B41E}" type="sibTrans" cxnId="{30563A1C-4A30-4B29-A743-BA05C68AC5ED}">
      <dgm:prSet/>
      <dgm:spPr/>
      <dgm:t>
        <a:bodyPr/>
        <a:lstStyle/>
        <a:p>
          <a:endParaRPr lang="de-DE"/>
        </a:p>
      </dgm:t>
    </dgm:pt>
    <dgm:pt modelId="{1C119EDC-B759-477A-9177-0963A8B5F3A8}">
      <dgm:prSet custT="1"/>
      <dgm:spPr>
        <a:solidFill>
          <a:schemeClr val="tx2">
            <a:lumMod val="60000"/>
            <a:lumOff val="40000"/>
          </a:schemeClr>
        </a:solidFill>
      </dgm:spPr>
      <dgm:t>
        <a:bodyPr/>
        <a:lstStyle/>
        <a:p>
          <a:endParaRPr lang="de-DE" sz="1400" dirty="0"/>
        </a:p>
      </dgm:t>
    </dgm:pt>
    <dgm:pt modelId="{CF01324E-B7C9-4DFC-B8B0-DFE090BEBC8B}" type="parTrans" cxnId="{1D5E943F-7835-45F6-9091-A8918F08155A}">
      <dgm:prSet/>
      <dgm:spPr/>
      <dgm:t>
        <a:bodyPr/>
        <a:lstStyle/>
        <a:p>
          <a:endParaRPr lang="de-DE"/>
        </a:p>
      </dgm:t>
    </dgm:pt>
    <dgm:pt modelId="{E700340D-7F15-4AFB-A7A4-CFF8BD093676}" type="sibTrans" cxnId="{1D5E943F-7835-45F6-9091-A8918F08155A}">
      <dgm:prSet/>
      <dgm:spPr/>
      <dgm:t>
        <a:bodyPr/>
        <a:lstStyle/>
        <a:p>
          <a:endParaRPr lang="de-DE"/>
        </a:p>
      </dgm:t>
    </dgm:pt>
    <dgm:pt modelId="{8F2B7DFC-1F1C-4C83-BC6E-696D4E05DC0F}" type="pres">
      <dgm:prSet presAssocID="{8303F7EA-774C-4256-BD91-2B571B9AF28D}" presName="composite" presStyleCnt="0">
        <dgm:presLayoutVars>
          <dgm:chMax val="3"/>
          <dgm:animLvl val="lvl"/>
          <dgm:resizeHandles val="exact"/>
        </dgm:presLayoutVars>
      </dgm:prSet>
      <dgm:spPr/>
    </dgm:pt>
    <dgm:pt modelId="{373A2AAD-6F1E-425D-94C1-91C75B1E069F}" type="pres">
      <dgm:prSet presAssocID="{A85570AF-FB93-4D52-8A49-8BC6A9EE12AE}" presName="gear1" presStyleLbl="node1" presStyleIdx="0" presStyleCnt="3" custScaleX="111518">
        <dgm:presLayoutVars>
          <dgm:chMax val="1"/>
          <dgm:bulletEnabled val="1"/>
        </dgm:presLayoutVars>
      </dgm:prSet>
      <dgm:spPr/>
      <dgm:t>
        <a:bodyPr/>
        <a:lstStyle/>
        <a:p>
          <a:endParaRPr lang="de-DE"/>
        </a:p>
      </dgm:t>
    </dgm:pt>
    <dgm:pt modelId="{7B3CC8C4-31AD-4A79-9378-2137785E6BB5}" type="pres">
      <dgm:prSet presAssocID="{A85570AF-FB93-4D52-8A49-8BC6A9EE12AE}" presName="gear1srcNode" presStyleLbl="node1" presStyleIdx="0" presStyleCnt="3"/>
      <dgm:spPr/>
      <dgm:t>
        <a:bodyPr/>
        <a:lstStyle/>
        <a:p>
          <a:endParaRPr lang="de-DE"/>
        </a:p>
      </dgm:t>
    </dgm:pt>
    <dgm:pt modelId="{DC7FA901-4A47-411F-896C-1D3D2FC3F0C1}" type="pres">
      <dgm:prSet presAssocID="{A85570AF-FB93-4D52-8A49-8BC6A9EE12AE}" presName="gear1dstNode" presStyleLbl="node1" presStyleIdx="0" presStyleCnt="3"/>
      <dgm:spPr/>
      <dgm:t>
        <a:bodyPr/>
        <a:lstStyle/>
        <a:p>
          <a:endParaRPr lang="de-DE"/>
        </a:p>
      </dgm:t>
    </dgm:pt>
    <dgm:pt modelId="{E664E2EA-E1A4-4910-BFD5-B4694A4CAF66}" type="pres">
      <dgm:prSet presAssocID="{D8F497C1-9104-410E-8EEC-E5B209178639}" presName="gear2" presStyleLbl="node1" presStyleIdx="1" presStyleCnt="3" custScaleX="120338" custScaleY="117588">
        <dgm:presLayoutVars>
          <dgm:chMax val="1"/>
          <dgm:bulletEnabled val="1"/>
        </dgm:presLayoutVars>
      </dgm:prSet>
      <dgm:spPr/>
      <dgm:t>
        <a:bodyPr/>
        <a:lstStyle/>
        <a:p>
          <a:endParaRPr lang="de-DE"/>
        </a:p>
      </dgm:t>
    </dgm:pt>
    <dgm:pt modelId="{C4DF9C1F-9CD9-4B90-BAB5-E0D37B3D3378}" type="pres">
      <dgm:prSet presAssocID="{D8F497C1-9104-410E-8EEC-E5B209178639}" presName="gear2srcNode" presStyleLbl="node1" presStyleIdx="1" presStyleCnt="3"/>
      <dgm:spPr/>
      <dgm:t>
        <a:bodyPr/>
        <a:lstStyle/>
        <a:p>
          <a:endParaRPr lang="de-DE"/>
        </a:p>
      </dgm:t>
    </dgm:pt>
    <dgm:pt modelId="{6979C97E-BC9A-49AA-80C4-0CBB532C2C0A}" type="pres">
      <dgm:prSet presAssocID="{D8F497C1-9104-410E-8EEC-E5B209178639}" presName="gear2dstNode" presStyleLbl="node1" presStyleIdx="1" presStyleCnt="3"/>
      <dgm:spPr/>
      <dgm:t>
        <a:bodyPr/>
        <a:lstStyle/>
        <a:p>
          <a:endParaRPr lang="de-DE"/>
        </a:p>
      </dgm:t>
    </dgm:pt>
    <dgm:pt modelId="{B82C5A57-C489-41FC-99ED-B032BC9D2C41}" type="pres">
      <dgm:prSet presAssocID="{23D49099-CED5-42B2-9F70-76A0A93E9513}" presName="gear3" presStyleLbl="node1" presStyleIdx="2" presStyleCnt="3" custScaleX="146005" custScaleY="152271" custLinFactNeighborX="1435" custLinFactNeighborY="-1358"/>
      <dgm:spPr/>
      <dgm:t>
        <a:bodyPr/>
        <a:lstStyle/>
        <a:p>
          <a:endParaRPr lang="de-DE"/>
        </a:p>
      </dgm:t>
    </dgm:pt>
    <dgm:pt modelId="{C5489176-C45E-4A32-B9C5-6C9D9B004332}" type="pres">
      <dgm:prSet presAssocID="{23D49099-CED5-42B2-9F70-76A0A93E9513}" presName="gear3tx" presStyleLbl="node1" presStyleIdx="2" presStyleCnt="3">
        <dgm:presLayoutVars>
          <dgm:chMax val="1"/>
          <dgm:bulletEnabled val="1"/>
        </dgm:presLayoutVars>
      </dgm:prSet>
      <dgm:spPr/>
      <dgm:t>
        <a:bodyPr/>
        <a:lstStyle/>
        <a:p>
          <a:endParaRPr lang="de-DE"/>
        </a:p>
      </dgm:t>
    </dgm:pt>
    <dgm:pt modelId="{393ED098-AB09-422C-91D9-BBF16A8711D3}" type="pres">
      <dgm:prSet presAssocID="{23D49099-CED5-42B2-9F70-76A0A93E9513}" presName="gear3srcNode" presStyleLbl="node1" presStyleIdx="2" presStyleCnt="3"/>
      <dgm:spPr/>
      <dgm:t>
        <a:bodyPr/>
        <a:lstStyle/>
        <a:p>
          <a:endParaRPr lang="de-DE"/>
        </a:p>
      </dgm:t>
    </dgm:pt>
    <dgm:pt modelId="{3CB3F9BE-3998-4EF9-B13D-DC2F098EEC57}" type="pres">
      <dgm:prSet presAssocID="{23D49099-CED5-42B2-9F70-76A0A93E9513}" presName="gear3dstNode" presStyleLbl="node1" presStyleIdx="2" presStyleCnt="3"/>
      <dgm:spPr/>
      <dgm:t>
        <a:bodyPr/>
        <a:lstStyle/>
        <a:p>
          <a:endParaRPr lang="de-DE"/>
        </a:p>
      </dgm:t>
    </dgm:pt>
    <dgm:pt modelId="{6E0DA57D-F12E-495A-887F-F98F310DE934}" type="pres">
      <dgm:prSet presAssocID="{46C3AA05-DA5F-4F1A-9EA7-3BE252781617}" presName="connector1" presStyleLbl="sibTrans2D1" presStyleIdx="0" presStyleCnt="3"/>
      <dgm:spPr/>
      <dgm:t>
        <a:bodyPr/>
        <a:lstStyle/>
        <a:p>
          <a:endParaRPr lang="de-DE"/>
        </a:p>
      </dgm:t>
    </dgm:pt>
    <dgm:pt modelId="{BF09467D-B64E-4545-952F-E21D4FDE25BF}" type="pres">
      <dgm:prSet presAssocID="{B4EBE533-D7C1-4F2C-BF13-10A3DB56343D}" presName="connector2" presStyleLbl="sibTrans2D1" presStyleIdx="1" presStyleCnt="3"/>
      <dgm:spPr/>
      <dgm:t>
        <a:bodyPr/>
        <a:lstStyle/>
        <a:p>
          <a:endParaRPr lang="de-DE"/>
        </a:p>
      </dgm:t>
    </dgm:pt>
    <dgm:pt modelId="{B2A55E5F-F4BE-46FE-8E5D-F89272E2B1E5}" type="pres">
      <dgm:prSet presAssocID="{5BF2D17B-CCFC-42F8-ABC0-DA2A97CBB25D}" presName="connector3" presStyleLbl="sibTrans2D1" presStyleIdx="2" presStyleCnt="3"/>
      <dgm:spPr/>
      <dgm:t>
        <a:bodyPr/>
        <a:lstStyle/>
        <a:p>
          <a:endParaRPr lang="de-DE"/>
        </a:p>
      </dgm:t>
    </dgm:pt>
  </dgm:ptLst>
  <dgm:cxnLst>
    <dgm:cxn modelId="{30563A1C-4A30-4B29-A743-BA05C68AC5ED}" srcId="{8303F7EA-774C-4256-BD91-2B571B9AF28D}" destId="{BC33E5F4-18E4-4130-9079-9747A5E93506}" srcOrd="3" destOrd="0" parTransId="{E9E056A1-7882-4445-95A9-1F8ECF1C97C1}" sibTransId="{3102F403-DA6D-4AB1-A736-CE49BEF5B41E}"/>
    <dgm:cxn modelId="{AACE2C6E-4428-4044-BD07-E5EFDA4D9554}" type="presOf" srcId="{23D49099-CED5-42B2-9F70-76A0A93E9513}" destId="{3CB3F9BE-3998-4EF9-B13D-DC2F098EEC57}" srcOrd="3" destOrd="0" presId="urn:microsoft.com/office/officeart/2005/8/layout/gear1"/>
    <dgm:cxn modelId="{E5FF9179-2622-43B9-BC47-1591D095EBAC}" type="presOf" srcId="{23D49099-CED5-42B2-9F70-76A0A93E9513}" destId="{393ED098-AB09-422C-91D9-BBF16A8711D3}" srcOrd="2" destOrd="0" presId="urn:microsoft.com/office/officeart/2005/8/layout/gear1"/>
    <dgm:cxn modelId="{7CA2AADB-DFD4-4DA6-BA4D-B9D866B52BBD}" type="presOf" srcId="{23D49099-CED5-42B2-9F70-76A0A93E9513}" destId="{B82C5A57-C489-41FC-99ED-B032BC9D2C41}" srcOrd="0" destOrd="0" presId="urn:microsoft.com/office/officeart/2005/8/layout/gear1"/>
    <dgm:cxn modelId="{9B582ED7-53AB-436E-B1F7-C3410A3615DB}" srcId="{8303F7EA-774C-4256-BD91-2B571B9AF28D}" destId="{D8F497C1-9104-410E-8EEC-E5B209178639}" srcOrd="1" destOrd="0" parTransId="{59ABF079-0625-44E7-961B-E51D45FDC216}" sibTransId="{B4EBE533-D7C1-4F2C-BF13-10A3DB56343D}"/>
    <dgm:cxn modelId="{8A2784BE-25D3-438E-AA82-DD0B5C973A44}" type="presOf" srcId="{D8F497C1-9104-410E-8EEC-E5B209178639}" destId="{C4DF9C1F-9CD9-4B90-BAB5-E0D37B3D3378}" srcOrd="1" destOrd="0" presId="urn:microsoft.com/office/officeart/2005/8/layout/gear1"/>
    <dgm:cxn modelId="{E469954F-FC1A-44A4-902E-B9547410AA86}" type="presOf" srcId="{B4EBE533-D7C1-4F2C-BF13-10A3DB56343D}" destId="{BF09467D-B64E-4545-952F-E21D4FDE25BF}" srcOrd="0" destOrd="0" presId="urn:microsoft.com/office/officeart/2005/8/layout/gear1"/>
    <dgm:cxn modelId="{7441CC38-7268-4F82-8F90-42AB5E725779}" type="presOf" srcId="{A85570AF-FB93-4D52-8A49-8BC6A9EE12AE}" destId="{373A2AAD-6F1E-425D-94C1-91C75B1E069F}" srcOrd="0" destOrd="0" presId="urn:microsoft.com/office/officeart/2005/8/layout/gear1"/>
    <dgm:cxn modelId="{89D31256-C82D-47B8-8694-9FB2FC7BEEA0}" type="presOf" srcId="{A85570AF-FB93-4D52-8A49-8BC6A9EE12AE}" destId="{DC7FA901-4A47-411F-896C-1D3D2FC3F0C1}" srcOrd="2" destOrd="0" presId="urn:microsoft.com/office/officeart/2005/8/layout/gear1"/>
    <dgm:cxn modelId="{7DAFAA8B-C92C-4FC3-88BB-F204378024D4}" type="presOf" srcId="{D8F497C1-9104-410E-8EEC-E5B209178639}" destId="{6979C97E-BC9A-49AA-80C4-0CBB532C2C0A}" srcOrd="2" destOrd="0" presId="urn:microsoft.com/office/officeart/2005/8/layout/gear1"/>
    <dgm:cxn modelId="{93580CDF-3AC9-4FAF-B91F-4DCCFF8F60BC}" srcId="{8303F7EA-774C-4256-BD91-2B571B9AF28D}" destId="{651767BA-002D-44D5-8FA8-3B9C7252164F}" srcOrd="5" destOrd="0" parTransId="{2AFB73C0-2C0B-450E-BC87-EA59D2D9260D}" sibTransId="{05A8A326-7755-4928-A45B-4105B210DAAD}"/>
    <dgm:cxn modelId="{492EA2BB-3702-4003-889B-13969E587383}" srcId="{8303F7EA-774C-4256-BD91-2B571B9AF28D}" destId="{23D49099-CED5-42B2-9F70-76A0A93E9513}" srcOrd="2" destOrd="0" parTransId="{6EBA3E7F-9FF7-470D-8A8C-332C4ECEC2CE}" sibTransId="{5BF2D17B-CCFC-42F8-ABC0-DA2A97CBB25D}"/>
    <dgm:cxn modelId="{9FAC3A51-929E-4FA4-84E6-9179B07374F4}" type="presOf" srcId="{A85570AF-FB93-4D52-8A49-8BC6A9EE12AE}" destId="{7B3CC8C4-31AD-4A79-9378-2137785E6BB5}" srcOrd="1" destOrd="0" presId="urn:microsoft.com/office/officeart/2005/8/layout/gear1"/>
    <dgm:cxn modelId="{72F360CA-7156-4E77-9249-05794526D996}" type="presOf" srcId="{D8F497C1-9104-410E-8EEC-E5B209178639}" destId="{E664E2EA-E1A4-4910-BFD5-B4694A4CAF66}" srcOrd="0" destOrd="0" presId="urn:microsoft.com/office/officeart/2005/8/layout/gear1"/>
    <dgm:cxn modelId="{29969E4A-6370-4109-9A44-B2E51FB72E9D}" type="presOf" srcId="{46C3AA05-DA5F-4F1A-9EA7-3BE252781617}" destId="{6E0DA57D-F12E-495A-887F-F98F310DE934}" srcOrd="0" destOrd="0" presId="urn:microsoft.com/office/officeart/2005/8/layout/gear1"/>
    <dgm:cxn modelId="{AC28EA53-8DC8-4A5B-BA42-F3918122EC11}" type="presOf" srcId="{8303F7EA-774C-4256-BD91-2B571B9AF28D}" destId="{8F2B7DFC-1F1C-4C83-BC6E-696D4E05DC0F}" srcOrd="0" destOrd="0" presId="urn:microsoft.com/office/officeart/2005/8/layout/gear1"/>
    <dgm:cxn modelId="{C590C3DC-F83D-4F33-8998-00B49A173B6D}" srcId="{8303F7EA-774C-4256-BD91-2B571B9AF28D}" destId="{A85570AF-FB93-4D52-8A49-8BC6A9EE12AE}" srcOrd="0" destOrd="0" parTransId="{686CEA3B-E6F6-46D1-BDAE-573FFFB25A1B}" sibTransId="{46C3AA05-DA5F-4F1A-9EA7-3BE252781617}"/>
    <dgm:cxn modelId="{3981FAB2-FAE8-4DC6-B25A-A9F57A7BC998}" type="presOf" srcId="{23D49099-CED5-42B2-9F70-76A0A93E9513}" destId="{C5489176-C45E-4A32-B9C5-6C9D9B004332}" srcOrd="1" destOrd="0" presId="urn:microsoft.com/office/officeart/2005/8/layout/gear1"/>
    <dgm:cxn modelId="{56A98CCA-5C34-4E4F-96ED-58E0A6F94490}" type="presOf" srcId="{5BF2D17B-CCFC-42F8-ABC0-DA2A97CBB25D}" destId="{B2A55E5F-F4BE-46FE-8E5D-F89272E2B1E5}" srcOrd="0" destOrd="0" presId="urn:microsoft.com/office/officeart/2005/8/layout/gear1"/>
    <dgm:cxn modelId="{1D5E943F-7835-45F6-9091-A8918F08155A}" srcId="{8303F7EA-774C-4256-BD91-2B571B9AF28D}" destId="{1C119EDC-B759-477A-9177-0963A8B5F3A8}" srcOrd="4" destOrd="0" parTransId="{CF01324E-B7C9-4DFC-B8B0-DFE090BEBC8B}" sibTransId="{E700340D-7F15-4AFB-A7A4-CFF8BD093676}"/>
    <dgm:cxn modelId="{CC612F51-597A-4564-80BF-DF5908CC1FB2}" type="presParOf" srcId="{8F2B7DFC-1F1C-4C83-BC6E-696D4E05DC0F}" destId="{373A2AAD-6F1E-425D-94C1-91C75B1E069F}" srcOrd="0" destOrd="0" presId="urn:microsoft.com/office/officeart/2005/8/layout/gear1"/>
    <dgm:cxn modelId="{D91C8198-08DB-45A0-9906-5BAB16BD529A}" type="presParOf" srcId="{8F2B7DFC-1F1C-4C83-BC6E-696D4E05DC0F}" destId="{7B3CC8C4-31AD-4A79-9378-2137785E6BB5}" srcOrd="1" destOrd="0" presId="urn:microsoft.com/office/officeart/2005/8/layout/gear1"/>
    <dgm:cxn modelId="{8125A79F-A63A-4304-BE83-105E6EFCE866}" type="presParOf" srcId="{8F2B7DFC-1F1C-4C83-BC6E-696D4E05DC0F}" destId="{DC7FA901-4A47-411F-896C-1D3D2FC3F0C1}" srcOrd="2" destOrd="0" presId="urn:microsoft.com/office/officeart/2005/8/layout/gear1"/>
    <dgm:cxn modelId="{B8642C2E-CDAA-4200-B386-1570A1E07F52}" type="presParOf" srcId="{8F2B7DFC-1F1C-4C83-BC6E-696D4E05DC0F}" destId="{E664E2EA-E1A4-4910-BFD5-B4694A4CAF66}" srcOrd="3" destOrd="0" presId="urn:microsoft.com/office/officeart/2005/8/layout/gear1"/>
    <dgm:cxn modelId="{6BAE1CCA-C475-480D-844E-3F1E1AF1DA19}" type="presParOf" srcId="{8F2B7DFC-1F1C-4C83-BC6E-696D4E05DC0F}" destId="{C4DF9C1F-9CD9-4B90-BAB5-E0D37B3D3378}" srcOrd="4" destOrd="0" presId="urn:microsoft.com/office/officeart/2005/8/layout/gear1"/>
    <dgm:cxn modelId="{90DA4030-AD53-48AD-973A-256D8A795A47}" type="presParOf" srcId="{8F2B7DFC-1F1C-4C83-BC6E-696D4E05DC0F}" destId="{6979C97E-BC9A-49AA-80C4-0CBB532C2C0A}" srcOrd="5" destOrd="0" presId="urn:microsoft.com/office/officeart/2005/8/layout/gear1"/>
    <dgm:cxn modelId="{F0100F76-3E23-4F7D-9B1C-BB6D8519E258}" type="presParOf" srcId="{8F2B7DFC-1F1C-4C83-BC6E-696D4E05DC0F}" destId="{B82C5A57-C489-41FC-99ED-B032BC9D2C41}" srcOrd="6" destOrd="0" presId="urn:microsoft.com/office/officeart/2005/8/layout/gear1"/>
    <dgm:cxn modelId="{ABDDEFE7-8CE4-4DD7-8390-A893DE333B78}" type="presParOf" srcId="{8F2B7DFC-1F1C-4C83-BC6E-696D4E05DC0F}" destId="{C5489176-C45E-4A32-B9C5-6C9D9B004332}" srcOrd="7" destOrd="0" presId="urn:microsoft.com/office/officeart/2005/8/layout/gear1"/>
    <dgm:cxn modelId="{E6D92426-7B52-4F67-BB85-4492109E6D3C}" type="presParOf" srcId="{8F2B7DFC-1F1C-4C83-BC6E-696D4E05DC0F}" destId="{393ED098-AB09-422C-91D9-BBF16A8711D3}" srcOrd="8" destOrd="0" presId="urn:microsoft.com/office/officeart/2005/8/layout/gear1"/>
    <dgm:cxn modelId="{D83B5C8E-8A71-466D-8763-7B010DD03EA7}" type="presParOf" srcId="{8F2B7DFC-1F1C-4C83-BC6E-696D4E05DC0F}" destId="{3CB3F9BE-3998-4EF9-B13D-DC2F098EEC57}" srcOrd="9" destOrd="0" presId="urn:microsoft.com/office/officeart/2005/8/layout/gear1"/>
    <dgm:cxn modelId="{F318D1E7-565A-4DBC-A95C-F2A630449B2D}" type="presParOf" srcId="{8F2B7DFC-1F1C-4C83-BC6E-696D4E05DC0F}" destId="{6E0DA57D-F12E-495A-887F-F98F310DE934}" srcOrd="10" destOrd="0" presId="urn:microsoft.com/office/officeart/2005/8/layout/gear1"/>
    <dgm:cxn modelId="{70679EB8-CFBF-4231-A3A6-176FB940E88A}" type="presParOf" srcId="{8F2B7DFC-1F1C-4C83-BC6E-696D4E05DC0F}" destId="{BF09467D-B64E-4545-952F-E21D4FDE25BF}" srcOrd="11" destOrd="0" presId="urn:microsoft.com/office/officeart/2005/8/layout/gear1"/>
    <dgm:cxn modelId="{DA85E2EF-E058-4EFB-BB78-F69B0856DB7D}" type="presParOf" srcId="{8F2B7DFC-1F1C-4C83-BC6E-696D4E05DC0F}" destId="{B2A55E5F-F4BE-46FE-8E5D-F89272E2B1E5}"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34569A9-C49F-4CAF-B1EC-0825C508CAE8}" type="doc">
      <dgm:prSet loTypeId="urn:microsoft.com/office/officeart/2005/8/layout/funnel1" loCatId="relationship" qsTypeId="urn:microsoft.com/office/officeart/2005/8/quickstyle/simple1" qsCatId="simple" csTypeId="urn:microsoft.com/office/officeart/2005/8/colors/accent1_2" csCatId="accent1" phldr="1"/>
      <dgm:spPr/>
      <dgm:t>
        <a:bodyPr/>
        <a:lstStyle/>
        <a:p>
          <a:endParaRPr lang="de-DE"/>
        </a:p>
      </dgm:t>
    </dgm:pt>
    <dgm:pt modelId="{0BD5B5F9-84F0-48ED-8031-D647DB959D3C}">
      <dgm:prSet phldrT="[Text]" custT="1"/>
      <dgm:spPr>
        <a:solidFill>
          <a:srgbClr val="558ED5"/>
        </a:solidFill>
      </dgm:spPr>
      <dgm:t>
        <a:bodyPr/>
        <a:lstStyle/>
        <a:p>
          <a:r>
            <a:rPr lang="de-DE" sz="1600" u="sng" dirty="0">
              <a:solidFill>
                <a:schemeClr val="bg1"/>
              </a:solidFill>
            </a:rPr>
            <a:t>DU</a:t>
          </a:r>
          <a:r>
            <a:rPr lang="de-DE" sz="1600" dirty="0">
              <a:solidFill>
                <a:schemeClr val="bg1"/>
              </a:solidFill>
            </a:rPr>
            <a:t> </a:t>
          </a:r>
        </a:p>
        <a:p>
          <a:r>
            <a:rPr lang="de-DE" sz="1600" dirty="0">
              <a:solidFill>
                <a:schemeClr val="bg1"/>
              </a:solidFill>
            </a:rPr>
            <a:t>an der Gesamtschule </a:t>
          </a:r>
          <a:r>
            <a:rPr lang="de-DE" sz="1600" dirty="0" err="1">
              <a:solidFill>
                <a:schemeClr val="bg1"/>
              </a:solidFill>
            </a:rPr>
            <a:t>Hiesfeld</a:t>
          </a:r>
          <a:endParaRPr lang="de-DE" sz="1600" dirty="0">
            <a:solidFill>
              <a:schemeClr val="bg1"/>
            </a:solidFill>
          </a:endParaRPr>
        </a:p>
      </dgm:t>
    </dgm:pt>
    <dgm:pt modelId="{75B42F48-5CBF-4106-83F6-D47767FF7A0E}" type="parTrans" cxnId="{3320301D-0A4A-4D2B-9142-C3AD3F58DB21}">
      <dgm:prSet/>
      <dgm:spPr/>
      <dgm:t>
        <a:bodyPr/>
        <a:lstStyle/>
        <a:p>
          <a:endParaRPr lang="de-DE"/>
        </a:p>
      </dgm:t>
    </dgm:pt>
    <dgm:pt modelId="{1415D2BA-AC54-4243-A659-D7BF6FE902B6}" type="sibTrans" cxnId="{3320301D-0A4A-4D2B-9142-C3AD3F58DB21}">
      <dgm:prSet/>
      <dgm:spPr/>
      <dgm:t>
        <a:bodyPr/>
        <a:lstStyle/>
        <a:p>
          <a:endParaRPr lang="de-DE"/>
        </a:p>
      </dgm:t>
    </dgm:pt>
    <dgm:pt modelId="{5D9B6DFE-2D41-4FBA-8760-CACE34AD3B81}">
      <dgm:prSet phldrT="[Text]"/>
      <dgm:spPr>
        <a:solidFill>
          <a:srgbClr val="558ED5"/>
        </a:solidFill>
      </dgm:spPr>
      <dgm:t>
        <a:bodyPr/>
        <a:lstStyle/>
        <a:p>
          <a:r>
            <a:rPr lang="de-DE" dirty="0"/>
            <a:t>Kennenlernen (Klasse, Logbuch, Regeln, Methoden, ...)</a:t>
          </a:r>
        </a:p>
      </dgm:t>
    </dgm:pt>
    <dgm:pt modelId="{6CA0A951-2518-4A35-97FF-9A0574EBEB5F}" type="parTrans" cxnId="{BF6CB3C8-68E4-43CC-841A-B8F291BC2C3E}">
      <dgm:prSet/>
      <dgm:spPr/>
      <dgm:t>
        <a:bodyPr/>
        <a:lstStyle/>
        <a:p>
          <a:endParaRPr lang="de-DE"/>
        </a:p>
      </dgm:t>
    </dgm:pt>
    <dgm:pt modelId="{FD5666AE-5246-4F88-9FEB-35B08080AF18}" type="sibTrans" cxnId="{BF6CB3C8-68E4-43CC-841A-B8F291BC2C3E}">
      <dgm:prSet/>
      <dgm:spPr/>
      <dgm:t>
        <a:bodyPr/>
        <a:lstStyle/>
        <a:p>
          <a:endParaRPr lang="de-DE"/>
        </a:p>
      </dgm:t>
    </dgm:pt>
    <dgm:pt modelId="{6DCDB990-F180-4D5C-A7AB-C001B647AC1F}">
      <dgm:prSet phldrT="[Text]"/>
      <dgm:spPr>
        <a:solidFill>
          <a:srgbClr val="92D050"/>
        </a:solidFill>
        <a:ln>
          <a:solidFill>
            <a:srgbClr val="92D050"/>
          </a:solidFill>
        </a:ln>
      </dgm:spPr>
      <dgm:t>
        <a:bodyPr/>
        <a:lstStyle/>
        <a:p>
          <a:r>
            <a:rPr lang="de-DE" dirty="0" err="1"/>
            <a:t>Kennenlernnachmittag</a:t>
          </a:r>
          <a:r>
            <a:rPr lang="de-DE" dirty="0"/>
            <a:t> </a:t>
          </a:r>
          <a:r>
            <a:rPr lang="de-DE" b="1" u="sng" dirty="0"/>
            <a:t>vor </a:t>
          </a:r>
          <a:r>
            <a:rPr lang="de-DE" dirty="0"/>
            <a:t>Schulbeginn</a:t>
          </a:r>
        </a:p>
      </dgm:t>
    </dgm:pt>
    <dgm:pt modelId="{741B8BF6-5A01-488D-BBFF-3D08297C6E38}" type="parTrans" cxnId="{2DADBCE3-A75B-4E15-B61E-C62CE9B2E5F8}">
      <dgm:prSet/>
      <dgm:spPr/>
      <dgm:t>
        <a:bodyPr/>
        <a:lstStyle/>
        <a:p>
          <a:endParaRPr lang="de-DE"/>
        </a:p>
      </dgm:t>
    </dgm:pt>
    <dgm:pt modelId="{15F4ACB4-1E99-4F86-907F-3DE7D939BF3D}" type="sibTrans" cxnId="{2DADBCE3-A75B-4E15-B61E-C62CE9B2E5F8}">
      <dgm:prSet/>
      <dgm:spPr/>
      <dgm:t>
        <a:bodyPr/>
        <a:lstStyle/>
        <a:p>
          <a:endParaRPr lang="de-DE"/>
        </a:p>
      </dgm:t>
    </dgm:pt>
    <dgm:pt modelId="{2D0DD234-79EF-4080-88A6-FC2AE15AF28A}">
      <dgm:prSet phldrT="[Text]"/>
      <dgm:spPr>
        <a:solidFill>
          <a:schemeClr val="tx1"/>
        </a:solidFill>
      </dgm:spPr>
      <dgm:t>
        <a:bodyPr/>
        <a:lstStyle/>
        <a:p>
          <a:r>
            <a:rPr lang="de-DE" dirty="0"/>
            <a:t>Sanfter Übergang</a:t>
          </a:r>
        </a:p>
      </dgm:t>
    </dgm:pt>
    <dgm:pt modelId="{ABABB0FA-CEDE-4ADC-8253-46CCD15E95B9}" type="parTrans" cxnId="{D152CE55-DF5E-407B-A94F-95F790918ED9}">
      <dgm:prSet/>
      <dgm:spPr/>
      <dgm:t>
        <a:bodyPr/>
        <a:lstStyle/>
        <a:p>
          <a:endParaRPr lang="de-DE"/>
        </a:p>
      </dgm:t>
    </dgm:pt>
    <dgm:pt modelId="{F78D0E2B-488E-4BF5-B4B0-71EFC3A4734D}" type="sibTrans" cxnId="{D152CE55-DF5E-407B-A94F-95F790918ED9}">
      <dgm:prSet/>
      <dgm:spPr/>
      <dgm:t>
        <a:bodyPr/>
        <a:lstStyle/>
        <a:p>
          <a:endParaRPr lang="de-DE"/>
        </a:p>
      </dgm:t>
    </dgm:pt>
    <dgm:pt modelId="{9E997246-5681-4A2C-87EB-1284DFD075A0}" type="pres">
      <dgm:prSet presAssocID="{334569A9-C49F-4CAF-B1EC-0825C508CAE8}" presName="Name0" presStyleCnt="0">
        <dgm:presLayoutVars>
          <dgm:chMax val="4"/>
          <dgm:resizeHandles val="exact"/>
        </dgm:presLayoutVars>
      </dgm:prSet>
      <dgm:spPr/>
      <dgm:t>
        <a:bodyPr/>
        <a:lstStyle/>
        <a:p>
          <a:endParaRPr lang="de-DE"/>
        </a:p>
      </dgm:t>
    </dgm:pt>
    <dgm:pt modelId="{A3A44E3A-C7C5-4E54-8B19-458E96B54923}" type="pres">
      <dgm:prSet presAssocID="{334569A9-C49F-4CAF-B1EC-0825C508CAE8}" presName="ellipse" presStyleLbl="trBgShp" presStyleIdx="0" presStyleCnt="1"/>
      <dgm:spPr/>
    </dgm:pt>
    <dgm:pt modelId="{B27A2848-0E90-4A4A-AA9A-4304481007F7}" type="pres">
      <dgm:prSet presAssocID="{334569A9-C49F-4CAF-B1EC-0825C508CAE8}" presName="arrow1" presStyleLbl="fgShp" presStyleIdx="0" presStyleCnt="1" custScaleY="129108" custLinFactNeighborX="-54" custLinFactNeighborY="-32686"/>
      <dgm:spPr>
        <a:solidFill>
          <a:schemeClr val="tx1"/>
        </a:solidFill>
      </dgm:spPr>
    </dgm:pt>
    <dgm:pt modelId="{A90FAA9C-9CC6-4474-AC13-E1B029D701BA}" type="pres">
      <dgm:prSet presAssocID="{334569A9-C49F-4CAF-B1EC-0825C508CAE8}" presName="rectangle" presStyleLbl="revTx" presStyleIdx="0" presStyleCnt="1" custScaleX="88884" custScaleY="89844">
        <dgm:presLayoutVars>
          <dgm:bulletEnabled val="1"/>
        </dgm:presLayoutVars>
      </dgm:prSet>
      <dgm:spPr/>
      <dgm:t>
        <a:bodyPr/>
        <a:lstStyle/>
        <a:p>
          <a:endParaRPr lang="de-DE"/>
        </a:p>
      </dgm:t>
    </dgm:pt>
    <dgm:pt modelId="{EDA7F29C-106C-47EA-B507-6F78BFE36A2B}" type="pres">
      <dgm:prSet presAssocID="{6DCDB990-F180-4D5C-A7AB-C001B647AC1F}" presName="item1" presStyleLbl="node1" presStyleIdx="0" presStyleCnt="3" custScaleX="111042" custScaleY="106370">
        <dgm:presLayoutVars>
          <dgm:bulletEnabled val="1"/>
        </dgm:presLayoutVars>
      </dgm:prSet>
      <dgm:spPr/>
      <dgm:t>
        <a:bodyPr/>
        <a:lstStyle/>
        <a:p>
          <a:endParaRPr lang="de-DE"/>
        </a:p>
      </dgm:t>
    </dgm:pt>
    <dgm:pt modelId="{F0DBF1F2-1932-4C64-BF40-22484154A1EC}" type="pres">
      <dgm:prSet presAssocID="{2D0DD234-79EF-4080-88A6-FC2AE15AF28A}" presName="item2" presStyleLbl="node1" presStyleIdx="1" presStyleCnt="3" custScaleX="156216" custScaleY="148189" custLinFactNeighborX="20723" custLinFactNeighborY="-24265">
        <dgm:presLayoutVars>
          <dgm:bulletEnabled val="1"/>
        </dgm:presLayoutVars>
      </dgm:prSet>
      <dgm:spPr/>
      <dgm:t>
        <a:bodyPr/>
        <a:lstStyle/>
        <a:p>
          <a:endParaRPr lang="de-DE"/>
        </a:p>
      </dgm:t>
    </dgm:pt>
    <dgm:pt modelId="{CF075DED-9356-4F0F-B11E-82F1ECA87F1F}" type="pres">
      <dgm:prSet presAssocID="{0BD5B5F9-84F0-48ED-8031-D647DB959D3C}" presName="item3" presStyleLbl="node1" presStyleIdx="2" presStyleCnt="3" custScaleX="114435" custScaleY="111287" custLinFactNeighborX="27400" custLinFactNeighborY="20963">
        <dgm:presLayoutVars>
          <dgm:bulletEnabled val="1"/>
        </dgm:presLayoutVars>
      </dgm:prSet>
      <dgm:spPr/>
      <dgm:t>
        <a:bodyPr/>
        <a:lstStyle/>
        <a:p>
          <a:endParaRPr lang="de-DE"/>
        </a:p>
      </dgm:t>
    </dgm:pt>
    <dgm:pt modelId="{D3DB8021-A107-4C04-A3FC-56841D73670E}" type="pres">
      <dgm:prSet presAssocID="{334569A9-C49F-4CAF-B1EC-0825C508CAE8}" presName="funnel" presStyleLbl="trAlignAcc1" presStyleIdx="0" presStyleCnt="1" custScaleY="89542"/>
      <dgm:spPr>
        <a:solidFill>
          <a:schemeClr val="tx2">
            <a:alpha val="40000"/>
          </a:schemeClr>
        </a:solidFill>
      </dgm:spPr>
    </dgm:pt>
  </dgm:ptLst>
  <dgm:cxnLst>
    <dgm:cxn modelId="{C202311B-7D9B-42EB-BB18-D13E9F709712}" type="presOf" srcId="{0BD5B5F9-84F0-48ED-8031-D647DB959D3C}" destId="{A90FAA9C-9CC6-4474-AC13-E1B029D701BA}" srcOrd="0" destOrd="0" presId="urn:microsoft.com/office/officeart/2005/8/layout/funnel1"/>
    <dgm:cxn modelId="{43D8CFB8-2C3D-4C8D-A05F-C4B12B86E90A}" type="presOf" srcId="{2D0DD234-79EF-4080-88A6-FC2AE15AF28A}" destId="{EDA7F29C-106C-47EA-B507-6F78BFE36A2B}" srcOrd="0" destOrd="0" presId="urn:microsoft.com/office/officeart/2005/8/layout/funnel1"/>
    <dgm:cxn modelId="{D152CE55-DF5E-407B-A94F-95F790918ED9}" srcId="{334569A9-C49F-4CAF-B1EC-0825C508CAE8}" destId="{2D0DD234-79EF-4080-88A6-FC2AE15AF28A}" srcOrd="2" destOrd="0" parTransId="{ABABB0FA-CEDE-4ADC-8253-46CCD15E95B9}" sibTransId="{F78D0E2B-488E-4BF5-B4B0-71EFC3A4734D}"/>
    <dgm:cxn modelId="{6CBC4ED1-F78B-4867-B11D-86DA6D00228A}" type="presOf" srcId="{5D9B6DFE-2D41-4FBA-8760-CACE34AD3B81}" destId="{CF075DED-9356-4F0F-B11E-82F1ECA87F1F}" srcOrd="0" destOrd="0" presId="urn:microsoft.com/office/officeart/2005/8/layout/funnel1"/>
    <dgm:cxn modelId="{9411F2D8-2DE8-42AB-9539-FB3040F4813D}" type="presOf" srcId="{6DCDB990-F180-4D5C-A7AB-C001B647AC1F}" destId="{F0DBF1F2-1932-4C64-BF40-22484154A1EC}" srcOrd="0" destOrd="0" presId="urn:microsoft.com/office/officeart/2005/8/layout/funnel1"/>
    <dgm:cxn modelId="{3320301D-0A4A-4D2B-9142-C3AD3F58DB21}" srcId="{334569A9-C49F-4CAF-B1EC-0825C508CAE8}" destId="{0BD5B5F9-84F0-48ED-8031-D647DB959D3C}" srcOrd="3" destOrd="0" parTransId="{75B42F48-5CBF-4106-83F6-D47767FF7A0E}" sibTransId="{1415D2BA-AC54-4243-A659-D7BF6FE902B6}"/>
    <dgm:cxn modelId="{040A879C-CB12-47AD-9A0B-5EAB67341B59}" type="presOf" srcId="{334569A9-C49F-4CAF-B1EC-0825C508CAE8}" destId="{9E997246-5681-4A2C-87EB-1284DFD075A0}" srcOrd="0" destOrd="0" presId="urn:microsoft.com/office/officeart/2005/8/layout/funnel1"/>
    <dgm:cxn modelId="{2DADBCE3-A75B-4E15-B61E-C62CE9B2E5F8}" srcId="{334569A9-C49F-4CAF-B1EC-0825C508CAE8}" destId="{6DCDB990-F180-4D5C-A7AB-C001B647AC1F}" srcOrd="1" destOrd="0" parTransId="{741B8BF6-5A01-488D-BBFF-3D08297C6E38}" sibTransId="{15F4ACB4-1E99-4F86-907F-3DE7D939BF3D}"/>
    <dgm:cxn modelId="{BF6CB3C8-68E4-43CC-841A-B8F291BC2C3E}" srcId="{334569A9-C49F-4CAF-B1EC-0825C508CAE8}" destId="{5D9B6DFE-2D41-4FBA-8760-CACE34AD3B81}" srcOrd="0" destOrd="0" parTransId="{6CA0A951-2518-4A35-97FF-9A0574EBEB5F}" sibTransId="{FD5666AE-5246-4F88-9FEB-35B08080AF18}"/>
    <dgm:cxn modelId="{81F6BCD1-A0F7-4848-9F80-09E6BA678442}" type="presParOf" srcId="{9E997246-5681-4A2C-87EB-1284DFD075A0}" destId="{A3A44E3A-C7C5-4E54-8B19-458E96B54923}" srcOrd="0" destOrd="0" presId="urn:microsoft.com/office/officeart/2005/8/layout/funnel1"/>
    <dgm:cxn modelId="{3DF74612-7454-45CA-8DC5-7D41354B4229}" type="presParOf" srcId="{9E997246-5681-4A2C-87EB-1284DFD075A0}" destId="{B27A2848-0E90-4A4A-AA9A-4304481007F7}" srcOrd="1" destOrd="0" presId="urn:microsoft.com/office/officeart/2005/8/layout/funnel1"/>
    <dgm:cxn modelId="{00410B51-288C-43FA-B441-7DE4749EB944}" type="presParOf" srcId="{9E997246-5681-4A2C-87EB-1284DFD075A0}" destId="{A90FAA9C-9CC6-4474-AC13-E1B029D701BA}" srcOrd="2" destOrd="0" presId="urn:microsoft.com/office/officeart/2005/8/layout/funnel1"/>
    <dgm:cxn modelId="{D7176C55-0A63-44DA-9F62-216BCADBEE4D}" type="presParOf" srcId="{9E997246-5681-4A2C-87EB-1284DFD075A0}" destId="{EDA7F29C-106C-47EA-B507-6F78BFE36A2B}" srcOrd="3" destOrd="0" presId="urn:microsoft.com/office/officeart/2005/8/layout/funnel1"/>
    <dgm:cxn modelId="{87B7F208-5074-4161-A1E4-76CD415F1C42}" type="presParOf" srcId="{9E997246-5681-4A2C-87EB-1284DFD075A0}" destId="{F0DBF1F2-1932-4C64-BF40-22484154A1EC}" srcOrd="4" destOrd="0" presId="urn:microsoft.com/office/officeart/2005/8/layout/funnel1"/>
    <dgm:cxn modelId="{763984D8-E6A1-4EFE-BF98-5456AF5426B1}" type="presParOf" srcId="{9E997246-5681-4A2C-87EB-1284DFD075A0}" destId="{CF075DED-9356-4F0F-B11E-82F1ECA87F1F}" srcOrd="5" destOrd="0" presId="urn:microsoft.com/office/officeart/2005/8/layout/funnel1"/>
    <dgm:cxn modelId="{E5CD54ED-4465-4EE2-BC67-AF7B81C2D5A3}" type="presParOf" srcId="{9E997246-5681-4A2C-87EB-1284DFD075A0}" destId="{D3DB8021-A107-4C04-A3FC-56841D73670E}" srcOrd="6" destOrd="0" presId="urn:microsoft.com/office/officeart/2005/8/layout/funnel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851B0B-BD1F-491E-8E5A-A73A56C0A6D1}">
      <dsp:nvSpPr>
        <dsp:cNvPr id="0" name=""/>
        <dsp:cNvSpPr/>
      </dsp:nvSpPr>
      <dsp:spPr>
        <a:xfrm>
          <a:off x="0" y="1569665"/>
          <a:ext cx="7476551" cy="378000"/>
        </a:xfrm>
        <a:prstGeom prst="rect">
          <a:avLst/>
        </a:prstGeom>
        <a:solidFill>
          <a:schemeClr val="lt1">
            <a:alpha val="90000"/>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F115F7AE-F985-4F13-A7D6-224918A3542E}">
      <dsp:nvSpPr>
        <dsp:cNvPr id="0" name=""/>
        <dsp:cNvSpPr/>
      </dsp:nvSpPr>
      <dsp:spPr>
        <a:xfrm>
          <a:off x="385476" y="1428270"/>
          <a:ext cx="5233585" cy="442800"/>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7817" tIns="0" rIns="197817" bIns="0" numCol="1" spcCol="1270" anchor="ctr" anchorCtr="0">
          <a:noAutofit/>
        </a:bodyPr>
        <a:lstStyle/>
        <a:p>
          <a:pPr lvl="0" algn="l" defTabSz="666750">
            <a:lnSpc>
              <a:spcPct val="90000"/>
            </a:lnSpc>
            <a:spcBef>
              <a:spcPct val="0"/>
            </a:spcBef>
            <a:spcAft>
              <a:spcPct val="35000"/>
            </a:spcAft>
          </a:pPr>
          <a:r>
            <a:rPr lang="de-DE" sz="1500" b="1" kern="1200" dirty="0">
              <a:solidFill>
                <a:schemeClr val="accent1">
                  <a:lumMod val="10000"/>
                </a:schemeClr>
              </a:solidFill>
            </a:rPr>
            <a:t>Erster Schulabschluss nach Klasse 9 (vormals Hauptschulabschluss)</a:t>
          </a:r>
        </a:p>
      </dsp:txBody>
      <dsp:txXfrm>
        <a:off x="407092" y="1449886"/>
        <a:ext cx="5190353" cy="399568"/>
      </dsp:txXfrm>
    </dsp:sp>
    <dsp:sp modelId="{5D1D06F3-EC05-42E9-BC38-1C405A98F122}">
      <dsp:nvSpPr>
        <dsp:cNvPr id="0" name=""/>
        <dsp:cNvSpPr/>
      </dsp:nvSpPr>
      <dsp:spPr>
        <a:xfrm>
          <a:off x="0" y="2250065"/>
          <a:ext cx="6060118" cy="378000"/>
        </a:xfrm>
        <a:prstGeom prst="rect">
          <a:avLst/>
        </a:prstGeom>
        <a:solidFill>
          <a:schemeClr val="lt1">
            <a:alpha val="90000"/>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6E116C6D-C3F1-410F-9467-51C8960647DF}">
      <dsp:nvSpPr>
        <dsp:cNvPr id="0" name=""/>
        <dsp:cNvSpPr/>
      </dsp:nvSpPr>
      <dsp:spPr>
        <a:xfrm>
          <a:off x="373827" y="2028665"/>
          <a:ext cx="5233585" cy="442800"/>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7817" tIns="0" rIns="197817" bIns="0" numCol="1" spcCol="1270" anchor="ctr" anchorCtr="0">
          <a:noAutofit/>
        </a:bodyPr>
        <a:lstStyle/>
        <a:p>
          <a:pPr lvl="0" algn="l" defTabSz="666750">
            <a:lnSpc>
              <a:spcPct val="90000"/>
            </a:lnSpc>
            <a:spcBef>
              <a:spcPct val="0"/>
            </a:spcBef>
            <a:spcAft>
              <a:spcPct val="35000"/>
            </a:spcAft>
          </a:pPr>
          <a:r>
            <a:rPr lang="de-DE" sz="1500" b="1" kern="1200" dirty="0">
              <a:solidFill>
                <a:schemeClr val="accent1">
                  <a:lumMod val="10000"/>
                </a:schemeClr>
              </a:solidFill>
            </a:rPr>
            <a:t>Erweiterter Erster Schulabschluss nach Klasse 10 (vormals Hauptschulabschluss nach Klasse 10)</a:t>
          </a:r>
        </a:p>
      </dsp:txBody>
      <dsp:txXfrm>
        <a:off x="395443" y="2050281"/>
        <a:ext cx="5190353" cy="399568"/>
      </dsp:txXfrm>
    </dsp:sp>
    <dsp:sp modelId="{3F74401E-4840-4EFD-989E-41B4CE44E743}">
      <dsp:nvSpPr>
        <dsp:cNvPr id="0" name=""/>
        <dsp:cNvSpPr/>
      </dsp:nvSpPr>
      <dsp:spPr>
        <a:xfrm>
          <a:off x="0" y="2930465"/>
          <a:ext cx="7004406" cy="378000"/>
        </a:xfrm>
        <a:prstGeom prst="rect">
          <a:avLst/>
        </a:prstGeom>
        <a:no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B714440D-9598-4C8C-A8F3-E6186D243486}">
      <dsp:nvSpPr>
        <dsp:cNvPr id="0" name=""/>
        <dsp:cNvSpPr/>
      </dsp:nvSpPr>
      <dsp:spPr>
        <a:xfrm>
          <a:off x="373827" y="2709065"/>
          <a:ext cx="5233585" cy="442800"/>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7817" tIns="0" rIns="197817" bIns="0" numCol="1" spcCol="1270" anchor="ctr" anchorCtr="0">
          <a:noAutofit/>
        </a:bodyPr>
        <a:lstStyle/>
        <a:p>
          <a:pPr lvl="0" algn="l" defTabSz="666750">
            <a:lnSpc>
              <a:spcPct val="90000"/>
            </a:lnSpc>
            <a:spcBef>
              <a:spcPct val="0"/>
            </a:spcBef>
            <a:spcAft>
              <a:spcPct val="35000"/>
            </a:spcAft>
          </a:pPr>
          <a:r>
            <a:rPr lang="de-DE" sz="1500" b="1" kern="1200" dirty="0">
              <a:solidFill>
                <a:schemeClr val="accent1">
                  <a:lumMod val="10000"/>
                </a:schemeClr>
              </a:solidFill>
            </a:rPr>
            <a:t>Mittlerer Schulabschluss Fachoberschulreife (FOR)</a:t>
          </a:r>
        </a:p>
      </dsp:txBody>
      <dsp:txXfrm>
        <a:off x="395443" y="2730681"/>
        <a:ext cx="5190353" cy="399568"/>
      </dsp:txXfrm>
    </dsp:sp>
    <dsp:sp modelId="{64D07EC6-F0AE-4DB7-AD5E-216A192551A0}">
      <dsp:nvSpPr>
        <dsp:cNvPr id="0" name=""/>
        <dsp:cNvSpPr/>
      </dsp:nvSpPr>
      <dsp:spPr>
        <a:xfrm>
          <a:off x="0" y="3610865"/>
          <a:ext cx="7476551" cy="378000"/>
        </a:xfrm>
        <a:prstGeom prst="rect">
          <a:avLst/>
        </a:prstGeom>
        <a:solidFill>
          <a:schemeClr val="lt1">
            <a:alpha val="90000"/>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D5ECC9F3-ED60-421A-8AAE-D731B9E0CE6A}">
      <dsp:nvSpPr>
        <dsp:cNvPr id="0" name=""/>
        <dsp:cNvSpPr/>
      </dsp:nvSpPr>
      <dsp:spPr>
        <a:xfrm>
          <a:off x="373827" y="3389465"/>
          <a:ext cx="5233585" cy="442800"/>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7817" tIns="0" rIns="197817" bIns="0" numCol="1" spcCol="1270" anchor="ctr" anchorCtr="0">
          <a:noAutofit/>
        </a:bodyPr>
        <a:lstStyle/>
        <a:p>
          <a:pPr lvl="0" algn="l" defTabSz="666750">
            <a:lnSpc>
              <a:spcPct val="90000"/>
            </a:lnSpc>
            <a:spcBef>
              <a:spcPct val="0"/>
            </a:spcBef>
            <a:spcAft>
              <a:spcPct val="35000"/>
            </a:spcAft>
          </a:pPr>
          <a:r>
            <a:rPr lang="de-DE" sz="1500" b="1" kern="1200" dirty="0">
              <a:solidFill>
                <a:schemeClr val="accent1">
                  <a:lumMod val="10000"/>
                </a:schemeClr>
              </a:solidFill>
            </a:rPr>
            <a:t>Mittlerer Schulabschluss Fachoberschulreife mit Qualifikation (FORQ)</a:t>
          </a:r>
        </a:p>
      </dsp:txBody>
      <dsp:txXfrm>
        <a:off x="395443" y="3411081"/>
        <a:ext cx="5190353" cy="399568"/>
      </dsp:txXfrm>
    </dsp:sp>
    <dsp:sp modelId="{676C0482-5D08-4197-BCDB-9F3C6750B786}">
      <dsp:nvSpPr>
        <dsp:cNvPr id="0" name=""/>
        <dsp:cNvSpPr/>
      </dsp:nvSpPr>
      <dsp:spPr>
        <a:xfrm>
          <a:off x="0" y="4291265"/>
          <a:ext cx="7476551" cy="378000"/>
        </a:xfrm>
        <a:prstGeom prst="rect">
          <a:avLst/>
        </a:prstGeom>
        <a:solidFill>
          <a:schemeClr val="lt1">
            <a:alpha val="90000"/>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EBEAA736-8A33-4388-95E3-EA8CCEEC9A04}">
      <dsp:nvSpPr>
        <dsp:cNvPr id="0" name=""/>
        <dsp:cNvSpPr/>
      </dsp:nvSpPr>
      <dsp:spPr>
        <a:xfrm>
          <a:off x="373827" y="4069865"/>
          <a:ext cx="5233585" cy="442800"/>
        </a:xfrm>
        <a:prstGeom prst="roundRect">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7817" tIns="0" rIns="197817" bIns="0" numCol="1" spcCol="1270" anchor="ctr" anchorCtr="0">
          <a:noAutofit/>
        </a:bodyPr>
        <a:lstStyle/>
        <a:p>
          <a:pPr lvl="0" algn="l" defTabSz="666750">
            <a:lnSpc>
              <a:spcPct val="90000"/>
            </a:lnSpc>
            <a:spcBef>
              <a:spcPct val="0"/>
            </a:spcBef>
            <a:spcAft>
              <a:spcPct val="35000"/>
            </a:spcAft>
          </a:pPr>
          <a:r>
            <a:rPr lang="de-DE" sz="1500" b="1" kern="1200" dirty="0">
              <a:solidFill>
                <a:schemeClr val="accent1">
                  <a:lumMod val="10000"/>
                </a:schemeClr>
              </a:solidFill>
            </a:rPr>
            <a:t>Fachhochschulreife nach Klasse 12 bzw. 13</a:t>
          </a:r>
        </a:p>
      </dsp:txBody>
      <dsp:txXfrm>
        <a:off x="395443" y="4091481"/>
        <a:ext cx="5190353" cy="399568"/>
      </dsp:txXfrm>
    </dsp:sp>
    <dsp:sp modelId="{438AF10D-58D8-4D31-ABAF-3FB766B49CD0}">
      <dsp:nvSpPr>
        <dsp:cNvPr id="0" name=""/>
        <dsp:cNvSpPr/>
      </dsp:nvSpPr>
      <dsp:spPr>
        <a:xfrm>
          <a:off x="0" y="4971665"/>
          <a:ext cx="7476551" cy="378000"/>
        </a:xfrm>
        <a:prstGeom prst="rect">
          <a:avLst/>
        </a:prstGeom>
        <a:solidFill>
          <a:schemeClr val="lt1">
            <a:alpha val="90000"/>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A3D82B3D-778B-4918-9DEC-D001F7CA1707}">
      <dsp:nvSpPr>
        <dsp:cNvPr id="0" name=""/>
        <dsp:cNvSpPr/>
      </dsp:nvSpPr>
      <dsp:spPr>
        <a:xfrm>
          <a:off x="373827" y="4750265"/>
          <a:ext cx="5233585" cy="442800"/>
        </a:xfrm>
        <a:prstGeom prst="roundRect">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7817" tIns="0" rIns="197817" bIns="0" numCol="1" spcCol="1270" anchor="ctr" anchorCtr="0">
          <a:noAutofit/>
        </a:bodyPr>
        <a:lstStyle/>
        <a:p>
          <a:pPr lvl="0" algn="l" defTabSz="666750">
            <a:lnSpc>
              <a:spcPct val="90000"/>
            </a:lnSpc>
            <a:spcBef>
              <a:spcPct val="0"/>
            </a:spcBef>
            <a:spcAft>
              <a:spcPct val="35000"/>
            </a:spcAft>
          </a:pPr>
          <a:r>
            <a:rPr lang="de-DE" sz="1500" b="1" kern="1200" dirty="0">
              <a:solidFill>
                <a:schemeClr val="accent1">
                  <a:lumMod val="10000"/>
                </a:schemeClr>
              </a:solidFill>
            </a:rPr>
            <a:t>Abitur nach Klasse 13</a:t>
          </a:r>
        </a:p>
      </dsp:txBody>
      <dsp:txXfrm>
        <a:off x="395443" y="4771881"/>
        <a:ext cx="5190353" cy="3995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0FFBB5-17B8-4AFD-A060-276F9E1F9C1D}">
      <dsp:nvSpPr>
        <dsp:cNvPr id="0" name=""/>
        <dsp:cNvSpPr/>
      </dsp:nvSpPr>
      <dsp:spPr>
        <a:xfrm rot="10800000">
          <a:off x="1208216" y="55292"/>
          <a:ext cx="3613541" cy="480865"/>
        </a:xfrm>
        <a:prstGeom prst="homePlate">
          <a:avLst/>
        </a:prstGeom>
        <a:solidFill>
          <a:srgbClr val="F1F19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2048" tIns="45720" rIns="85344" bIns="45720" numCol="1" spcCol="1270" anchor="ctr" anchorCtr="0">
          <a:noAutofit/>
        </a:bodyPr>
        <a:lstStyle/>
        <a:p>
          <a:pPr lvl="0" algn="ctr" defTabSz="533400">
            <a:lnSpc>
              <a:spcPct val="90000"/>
            </a:lnSpc>
            <a:spcBef>
              <a:spcPct val="0"/>
            </a:spcBef>
            <a:spcAft>
              <a:spcPct val="35000"/>
            </a:spcAft>
          </a:pPr>
          <a:r>
            <a:rPr lang="de-DE" sz="1200" b="1" kern="1200" dirty="0">
              <a:solidFill>
                <a:schemeClr val="bg2">
                  <a:lumMod val="50000"/>
                </a:schemeClr>
              </a:solidFill>
            </a:rPr>
            <a:t>2. Fremdsprache: </a:t>
          </a:r>
        </a:p>
        <a:p>
          <a:pPr lvl="0" algn="ctr" defTabSz="533400">
            <a:lnSpc>
              <a:spcPct val="90000"/>
            </a:lnSpc>
            <a:spcBef>
              <a:spcPct val="0"/>
            </a:spcBef>
            <a:spcAft>
              <a:spcPct val="35000"/>
            </a:spcAft>
          </a:pPr>
          <a:r>
            <a:rPr lang="de-DE" sz="1200" b="1" kern="1200" dirty="0">
              <a:solidFill>
                <a:schemeClr val="bg2">
                  <a:lumMod val="50000"/>
                </a:schemeClr>
              </a:solidFill>
            </a:rPr>
            <a:t>Spanisch</a:t>
          </a:r>
        </a:p>
      </dsp:txBody>
      <dsp:txXfrm rot="10800000">
        <a:off x="1328432" y="55292"/>
        <a:ext cx="3493325" cy="480865"/>
      </dsp:txXfrm>
    </dsp:sp>
    <dsp:sp modelId="{917F9E7B-A053-488F-A708-83B2E3237B92}">
      <dsp:nvSpPr>
        <dsp:cNvPr id="0" name=""/>
        <dsp:cNvSpPr/>
      </dsp:nvSpPr>
      <dsp:spPr>
        <a:xfrm>
          <a:off x="789961" y="1728"/>
          <a:ext cx="480865" cy="480865"/>
        </a:xfrm>
        <a:prstGeom prst="ellipse">
          <a:avLst/>
        </a:prstGeom>
        <a:solidFill>
          <a:schemeClr val="bg1"/>
        </a:solidFill>
        <a:ln w="25400" cap="flat" cmpd="sng" algn="ctr">
          <a:solidFill>
            <a:srgbClr val="F1F193"/>
          </a:solidFill>
          <a:prstDash val="solid"/>
        </a:ln>
        <a:effectLst/>
      </dsp:spPr>
      <dsp:style>
        <a:lnRef idx="2">
          <a:scrgbClr r="0" g="0" b="0"/>
        </a:lnRef>
        <a:fillRef idx="1">
          <a:scrgbClr r="0" g="0" b="0"/>
        </a:fillRef>
        <a:effectRef idx="0">
          <a:scrgbClr r="0" g="0" b="0"/>
        </a:effectRef>
        <a:fontRef idx="minor"/>
      </dsp:style>
    </dsp:sp>
    <dsp:sp modelId="{CD5AE923-A9D3-4CA0-922A-A7C71150345C}">
      <dsp:nvSpPr>
        <dsp:cNvPr id="0" name=""/>
        <dsp:cNvSpPr/>
      </dsp:nvSpPr>
      <dsp:spPr>
        <a:xfrm rot="10800000">
          <a:off x="1223912" y="624188"/>
          <a:ext cx="3613541" cy="480865"/>
        </a:xfrm>
        <a:prstGeom prst="homePlate">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2048" tIns="45720" rIns="85344" bIns="45720" numCol="1" spcCol="1270" anchor="ctr" anchorCtr="0">
          <a:noAutofit/>
        </a:bodyPr>
        <a:lstStyle/>
        <a:p>
          <a:pPr lvl="0" algn="ctr" defTabSz="533400">
            <a:lnSpc>
              <a:spcPct val="90000"/>
            </a:lnSpc>
            <a:spcBef>
              <a:spcPct val="0"/>
            </a:spcBef>
            <a:spcAft>
              <a:spcPct val="35000"/>
            </a:spcAft>
          </a:pPr>
          <a:r>
            <a:rPr lang="de-DE" sz="1200" b="1" kern="1200" dirty="0"/>
            <a:t>Arbeitslehre / Hauswirtschaft</a:t>
          </a:r>
        </a:p>
      </dsp:txBody>
      <dsp:txXfrm rot="10800000">
        <a:off x="1344128" y="624188"/>
        <a:ext cx="3493325" cy="480865"/>
      </dsp:txXfrm>
    </dsp:sp>
    <dsp:sp modelId="{F1A2F206-764E-4545-9CA5-DF58106137B7}">
      <dsp:nvSpPr>
        <dsp:cNvPr id="0" name=""/>
        <dsp:cNvSpPr/>
      </dsp:nvSpPr>
      <dsp:spPr>
        <a:xfrm flipV="1">
          <a:off x="805721" y="667932"/>
          <a:ext cx="454465" cy="409322"/>
        </a:xfrm>
        <a:prstGeom prst="ellipse">
          <a:avLst/>
        </a:prstGeom>
        <a:solidFill>
          <a:schemeClr val="bg1"/>
        </a:solidFill>
        <a:ln w="25400" cap="flat" cmpd="sng" algn="ctr">
          <a:solidFill>
            <a:srgbClr val="CBCB2B"/>
          </a:solidFill>
          <a:prstDash val="solid"/>
        </a:ln>
        <a:effectLst/>
      </dsp:spPr>
      <dsp:style>
        <a:lnRef idx="2">
          <a:scrgbClr r="0" g="0" b="0"/>
        </a:lnRef>
        <a:fillRef idx="1">
          <a:scrgbClr r="0" g="0" b="0"/>
        </a:fillRef>
        <a:effectRef idx="0">
          <a:scrgbClr r="0" g="0" b="0"/>
        </a:effectRef>
        <a:fontRef idx="minor"/>
      </dsp:style>
    </dsp:sp>
    <dsp:sp modelId="{BC8A72AD-F2A8-4772-AB45-5F8889B03F6D}">
      <dsp:nvSpPr>
        <dsp:cNvPr id="0" name=""/>
        <dsp:cNvSpPr/>
      </dsp:nvSpPr>
      <dsp:spPr>
        <a:xfrm rot="10800000">
          <a:off x="1206541" y="1307544"/>
          <a:ext cx="3613541" cy="480865"/>
        </a:xfrm>
        <a:prstGeom prst="homePlat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2048" tIns="45720" rIns="85344" bIns="45720" numCol="1" spcCol="1270" anchor="ctr" anchorCtr="0">
          <a:noAutofit/>
        </a:bodyPr>
        <a:lstStyle/>
        <a:p>
          <a:pPr lvl="0" algn="ctr" defTabSz="533400">
            <a:lnSpc>
              <a:spcPct val="90000"/>
            </a:lnSpc>
            <a:spcBef>
              <a:spcPct val="0"/>
            </a:spcBef>
            <a:spcAft>
              <a:spcPct val="35000"/>
            </a:spcAft>
          </a:pPr>
          <a:r>
            <a:rPr lang="de-DE" sz="1200" b="1" kern="1200" dirty="0"/>
            <a:t>Arbeitslehre / Technik</a:t>
          </a:r>
        </a:p>
      </dsp:txBody>
      <dsp:txXfrm rot="10800000">
        <a:off x="1326757" y="1307544"/>
        <a:ext cx="3493325" cy="480865"/>
      </dsp:txXfrm>
    </dsp:sp>
    <dsp:sp modelId="{EBB01DF2-3A46-41BD-AFE3-BBD7D94CDBDB}">
      <dsp:nvSpPr>
        <dsp:cNvPr id="0" name=""/>
        <dsp:cNvSpPr/>
      </dsp:nvSpPr>
      <dsp:spPr>
        <a:xfrm>
          <a:off x="801682" y="1274398"/>
          <a:ext cx="433981" cy="433153"/>
        </a:xfrm>
        <a:prstGeom prst="ellipse">
          <a:avLst/>
        </a:prstGeom>
        <a:solidFill>
          <a:schemeClr val="bg1"/>
        </a:solidFill>
        <a:ln w="25400" cap="flat" cmpd="sng" algn="ctr">
          <a:solidFill>
            <a:srgbClr val="004070"/>
          </a:solidFill>
          <a:prstDash val="solid"/>
        </a:ln>
        <a:effectLst/>
      </dsp:spPr>
      <dsp:style>
        <a:lnRef idx="2">
          <a:scrgbClr r="0" g="0" b="0"/>
        </a:lnRef>
        <a:fillRef idx="1">
          <a:scrgbClr r="0" g="0" b="0"/>
        </a:fillRef>
        <a:effectRef idx="0">
          <a:scrgbClr r="0" g="0" b="0"/>
        </a:effectRef>
        <a:fontRef idx="minor"/>
      </dsp:style>
    </dsp:sp>
    <dsp:sp modelId="{0DEF22BF-EE16-41AD-9BE6-50B4879917DF}">
      <dsp:nvSpPr>
        <dsp:cNvPr id="0" name=""/>
        <dsp:cNvSpPr/>
      </dsp:nvSpPr>
      <dsp:spPr>
        <a:xfrm rot="10800000">
          <a:off x="1223899" y="1876638"/>
          <a:ext cx="3613541" cy="480865"/>
        </a:xfrm>
        <a:prstGeom prst="homePlate">
          <a:avLst/>
        </a:prstGeom>
        <a:solidFill>
          <a:srgbClr val="7B8B9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2048" tIns="45720" rIns="85344" bIns="45720" numCol="1" spcCol="1270" anchor="ctr" anchorCtr="0">
          <a:noAutofit/>
        </a:bodyPr>
        <a:lstStyle/>
        <a:p>
          <a:pPr lvl="0" algn="ctr" defTabSz="533400">
            <a:lnSpc>
              <a:spcPct val="90000"/>
            </a:lnSpc>
            <a:spcBef>
              <a:spcPct val="0"/>
            </a:spcBef>
            <a:spcAft>
              <a:spcPct val="35000"/>
            </a:spcAft>
          </a:pPr>
          <a:r>
            <a:rPr lang="de-DE" sz="1200" b="1" kern="1200" dirty="0"/>
            <a:t>Naturwissenschaften</a:t>
          </a:r>
        </a:p>
      </dsp:txBody>
      <dsp:txXfrm rot="10800000">
        <a:off x="1344115" y="1876638"/>
        <a:ext cx="3493325" cy="480865"/>
      </dsp:txXfrm>
    </dsp:sp>
    <dsp:sp modelId="{B926A707-3FF7-43DD-A449-FFE054225F03}">
      <dsp:nvSpPr>
        <dsp:cNvPr id="0" name=""/>
        <dsp:cNvSpPr/>
      </dsp:nvSpPr>
      <dsp:spPr>
        <a:xfrm>
          <a:off x="812802" y="1901811"/>
          <a:ext cx="480865" cy="480865"/>
        </a:xfrm>
        <a:prstGeom prst="ellipse">
          <a:avLst/>
        </a:prstGeom>
        <a:solidFill>
          <a:schemeClr val="bg1"/>
        </a:solidFill>
        <a:ln w="25400" cap="flat" cmpd="sng" algn="ctr">
          <a:solidFill>
            <a:srgbClr val="7B8B9C"/>
          </a:solidFill>
          <a:prstDash val="solid"/>
        </a:ln>
        <a:effectLst/>
      </dsp:spPr>
      <dsp:style>
        <a:lnRef idx="2">
          <a:scrgbClr r="0" g="0" b="0"/>
        </a:lnRef>
        <a:fillRef idx="1">
          <a:scrgbClr r="0" g="0" b="0"/>
        </a:fillRef>
        <a:effectRef idx="0">
          <a:scrgbClr r="0" g="0" b="0"/>
        </a:effectRef>
        <a:fontRef idx="minor"/>
      </dsp:style>
    </dsp:sp>
    <dsp:sp modelId="{C7DB990E-15F8-4FAA-80AB-E4D2F2A43B27}">
      <dsp:nvSpPr>
        <dsp:cNvPr id="0" name=""/>
        <dsp:cNvSpPr/>
      </dsp:nvSpPr>
      <dsp:spPr>
        <a:xfrm rot="10800000">
          <a:off x="1223899" y="2496198"/>
          <a:ext cx="3613541" cy="480865"/>
        </a:xfrm>
        <a:prstGeom prst="homePlate">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2048" tIns="45720" rIns="85344" bIns="45720" numCol="1" spcCol="1270" anchor="ctr" anchorCtr="0">
          <a:noAutofit/>
        </a:bodyPr>
        <a:lstStyle/>
        <a:p>
          <a:pPr lvl="0" algn="ctr" defTabSz="533400">
            <a:lnSpc>
              <a:spcPct val="90000"/>
            </a:lnSpc>
            <a:spcBef>
              <a:spcPct val="0"/>
            </a:spcBef>
            <a:spcAft>
              <a:spcPct val="35000"/>
            </a:spcAft>
          </a:pPr>
          <a:r>
            <a:rPr lang="de-DE" sz="1200" b="1" kern="1200" dirty="0">
              <a:solidFill>
                <a:schemeClr val="bg2">
                  <a:lumMod val="50000"/>
                </a:schemeClr>
              </a:solidFill>
            </a:rPr>
            <a:t>Darstellen und Gestalten</a:t>
          </a:r>
        </a:p>
      </dsp:txBody>
      <dsp:txXfrm rot="10800000">
        <a:off x="1344115" y="2496198"/>
        <a:ext cx="3493325" cy="480865"/>
      </dsp:txXfrm>
    </dsp:sp>
    <dsp:sp modelId="{6B5DCDE3-9AA7-4E58-ABD4-641EC8937413}">
      <dsp:nvSpPr>
        <dsp:cNvPr id="0" name=""/>
        <dsp:cNvSpPr/>
      </dsp:nvSpPr>
      <dsp:spPr>
        <a:xfrm>
          <a:off x="789961" y="2499357"/>
          <a:ext cx="480865" cy="480865"/>
        </a:xfrm>
        <a:prstGeom prst="ellipse">
          <a:avLst/>
        </a:prstGeom>
        <a:solidFill>
          <a:schemeClr val="bg1"/>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dsp:style>
    </dsp:sp>
    <dsp:sp modelId="{5BAC33F0-E0DF-40AB-AA9D-0EF32C2AC61A}">
      <dsp:nvSpPr>
        <dsp:cNvPr id="0" name=""/>
        <dsp:cNvSpPr/>
      </dsp:nvSpPr>
      <dsp:spPr>
        <a:xfrm rot="10800000">
          <a:off x="1244893" y="3076010"/>
          <a:ext cx="3613541" cy="480865"/>
        </a:xfrm>
        <a:prstGeom prst="homePlate">
          <a:avLst/>
        </a:prstGeom>
        <a:solidFill>
          <a:schemeClr val="tx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2048" tIns="45720" rIns="85344" bIns="45720" numCol="1" spcCol="1270" anchor="ctr" anchorCtr="0">
          <a:noAutofit/>
        </a:bodyPr>
        <a:lstStyle/>
        <a:p>
          <a:pPr lvl="0" algn="ctr" defTabSz="533400" rtl="0">
            <a:lnSpc>
              <a:spcPct val="90000"/>
            </a:lnSpc>
            <a:spcBef>
              <a:spcPct val="0"/>
            </a:spcBef>
            <a:spcAft>
              <a:spcPct val="35000"/>
            </a:spcAft>
          </a:pPr>
          <a:r>
            <a:rPr lang="de-DE" sz="1200" b="1" kern="1200" dirty="0">
              <a:latin typeface="TKTypeBold"/>
            </a:rPr>
            <a:t>Informatik </a:t>
          </a:r>
        </a:p>
      </dsp:txBody>
      <dsp:txXfrm rot="10800000">
        <a:off x="1365109" y="3076010"/>
        <a:ext cx="3493325" cy="480865"/>
      </dsp:txXfrm>
    </dsp:sp>
    <dsp:sp modelId="{252E7887-6A9D-488D-A5D9-5BF71525BF68}">
      <dsp:nvSpPr>
        <dsp:cNvPr id="0" name=""/>
        <dsp:cNvSpPr/>
      </dsp:nvSpPr>
      <dsp:spPr>
        <a:xfrm>
          <a:off x="789961" y="3123765"/>
          <a:ext cx="480865" cy="480865"/>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099DF3-908F-4C01-A837-0DF24B539985}">
      <dsp:nvSpPr>
        <dsp:cNvPr id="0" name=""/>
        <dsp:cNvSpPr/>
      </dsp:nvSpPr>
      <dsp:spPr>
        <a:xfrm>
          <a:off x="509068" y="0"/>
          <a:ext cx="5769438" cy="3721347"/>
        </a:xfrm>
        <a:prstGeom prst="rightArrow">
          <a:avLst/>
        </a:prstGeom>
        <a:pattFill prst="dkUpDiag">
          <a:fgClr>
            <a:schemeClr val="bg2"/>
          </a:fgClr>
          <a:bgClr>
            <a:schemeClr val="bg1"/>
          </a:bgClr>
        </a:pattFill>
        <a:ln>
          <a:noFill/>
        </a:ln>
        <a:effectLst/>
      </dsp:spPr>
      <dsp:style>
        <a:lnRef idx="0">
          <a:scrgbClr r="0" g="0" b="0"/>
        </a:lnRef>
        <a:fillRef idx="1">
          <a:scrgbClr r="0" g="0" b="0"/>
        </a:fillRef>
        <a:effectRef idx="0">
          <a:scrgbClr r="0" g="0" b="0"/>
        </a:effectRef>
        <a:fontRef idx="minor"/>
      </dsp:style>
    </dsp:sp>
    <dsp:sp modelId="{A76F786B-B66C-4FDB-90C4-123F58F7F212}">
      <dsp:nvSpPr>
        <dsp:cNvPr id="0" name=""/>
        <dsp:cNvSpPr/>
      </dsp:nvSpPr>
      <dsp:spPr>
        <a:xfrm>
          <a:off x="3397" y="1116404"/>
          <a:ext cx="1633923" cy="1488538"/>
        </a:xfrm>
        <a:prstGeom prst="roundRect">
          <a:avLst/>
        </a:prstGeom>
        <a:solidFill>
          <a:srgbClr val="FFFF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de-DE" sz="1100" kern="1200" dirty="0">
              <a:solidFill>
                <a:srgbClr val="3B434F"/>
              </a:solidFill>
            </a:rPr>
            <a:t>Klasse 7: Mathematik und Englisch</a:t>
          </a:r>
        </a:p>
      </dsp:txBody>
      <dsp:txXfrm>
        <a:off x="76061" y="1189068"/>
        <a:ext cx="1488595" cy="1343210"/>
      </dsp:txXfrm>
    </dsp:sp>
    <dsp:sp modelId="{A6832F74-1C61-4266-A128-714B6F508A8C}">
      <dsp:nvSpPr>
        <dsp:cNvPr id="0" name=""/>
        <dsp:cNvSpPr/>
      </dsp:nvSpPr>
      <dsp:spPr>
        <a:xfrm>
          <a:off x="1719016" y="1116404"/>
          <a:ext cx="1633923" cy="1488538"/>
        </a:xfrm>
        <a:prstGeom prst="roundRect">
          <a:avLst/>
        </a:prstGeom>
        <a:solidFill>
          <a:srgbClr val="FFFF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de-DE" sz="1100" kern="1200" dirty="0">
              <a:solidFill>
                <a:srgbClr val="3B434F"/>
              </a:solidFill>
            </a:rPr>
            <a:t>Klasse </a:t>
          </a:r>
          <a:r>
            <a:rPr lang="de-DE" sz="1100" kern="1200" dirty="0">
              <a:solidFill>
                <a:srgbClr val="3B434F"/>
              </a:solidFill>
              <a:latin typeface="TKTypeBold"/>
            </a:rPr>
            <a:t>8</a:t>
          </a:r>
          <a:r>
            <a:rPr lang="de-DE" sz="1100" kern="1200" dirty="0">
              <a:solidFill>
                <a:srgbClr val="3B434F"/>
              </a:solidFill>
            </a:rPr>
            <a:t>: Deutsch</a:t>
          </a:r>
          <a:r>
            <a:rPr lang="de-DE" sz="1100" kern="1200" dirty="0">
              <a:solidFill>
                <a:srgbClr val="3B434F"/>
              </a:solidFill>
              <a:latin typeface="TKTypeBold"/>
            </a:rPr>
            <a:t> </a:t>
          </a:r>
          <a:r>
            <a:rPr lang="de-DE" sz="1100" kern="1200" dirty="0">
              <a:solidFill>
                <a:srgbClr val="3B434F"/>
              </a:solidFill>
            </a:rPr>
            <a:t> </a:t>
          </a:r>
          <a:endParaRPr lang="de-DE" sz="1100" kern="1200" dirty="0">
            <a:solidFill>
              <a:srgbClr val="3B434F"/>
            </a:solidFill>
            <a:latin typeface="TKTypeBold"/>
          </a:endParaRPr>
        </a:p>
      </dsp:txBody>
      <dsp:txXfrm>
        <a:off x="1791680" y="1189068"/>
        <a:ext cx="1488595" cy="1343210"/>
      </dsp:txXfrm>
    </dsp:sp>
    <dsp:sp modelId="{6A90F791-09B1-4598-90B2-9F5A6CD17C15}">
      <dsp:nvSpPr>
        <dsp:cNvPr id="0" name=""/>
        <dsp:cNvSpPr/>
      </dsp:nvSpPr>
      <dsp:spPr>
        <a:xfrm>
          <a:off x="3434635" y="1116404"/>
          <a:ext cx="1633923" cy="1488538"/>
        </a:xfrm>
        <a:prstGeom prst="roundRect">
          <a:avLst/>
        </a:prstGeom>
        <a:solidFill>
          <a:srgbClr val="FFFF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de-DE" sz="1100" kern="1200" dirty="0">
              <a:solidFill>
                <a:srgbClr val="3B434F"/>
              </a:solidFill>
            </a:rPr>
            <a:t>Klasse 9: Physik</a:t>
          </a:r>
          <a:r>
            <a:rPr lang="de-DE" sz="1100" kern="1200" dirty="0">
              <a:solidFill>
                <a:srgbClr val="3B434F"/>
              </a:solidFill>
              <a:latin typeface="TKTypeBold"/>
            </a:rPr>
            <a:t> </a:t>
          </a:r>
          <a:endParaRPr lang="de-DE" sz="1100" kern="1200" dirty="0"/>
        </a:p>
      </dsp:txBody>
      <dsp:txXfrm>
        <a:off x="3507299" y="1189068"/>
        <a:ext cx="1488595" cy="1343210"/>
      </dsp:txXfrm>
    </dsp:sp>
    <dsp:sp modelId="{B1F8982B-8F3F-4F73-863F-9E7F7FB10264}">
      <dsp:nvSpPr>
        <dsp:cNvPr id="0" name=""/>
        <dsp:cNvSpPr/>
      </dsp:nvSpPr>
      <dsp:spPr>
        <a:xfrm>
          <a:off x="5153651" y="1137288"/>
          <a:ext cx="1633923" cy="1488538"/>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de-DE" sz="1100" kern="1200" dirty="0">
              <a:solidFill>
                <a:srgbClr val="3B434F"/>
              </a:solidFill>
            </a:rPr>
            <a:t>Ziel: den unterschiedlichen Lernvoraussetzungen und Fähigkeiten der Schülerinnen und Schüler gerecht werden</a:t>
          </a:r>
        </a:p>
      </dsp:txBody>
      <dsp:txXfrm>
        <a:off x="5226315" y="1209952"/>
        <a:ext cx="1488595" cy="134321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04D7A7-EC6E-4BCB-A385-3B0B3D2F0CD0}">
      <dsp:nvSpPr>
        <dsp:cNvPr id="0" name=""/>
        <dsp:cNvSpPr/>
      </dsp:nvSpPr>
      <dsp:spPr>
        <a:xfrm rot="10800000">
          <a:off x="802150" y="0"/>
          <a:ext cx="2154839" cy="739934"/>
        </a:xfrm>
        <a:prstGeom prst="homePlate">
          <a:avLst/>
        </a:prstGeom>
        <a:solidFill>
          <a:srgbClr val="F1F19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6291" tIns="57150" rIns="106680" bIns="57150" numCol="1" spcCol="1270" anchor="ctr" anchorCtr="0">
          <a:noAutofit/>
        </a:bodyPr>
        <a:lstStyle/>
        <a:p>
          <a:pPr lvl="0" algn="ctr" defTabSz="666750">
            <a:lnSpc>
              <a:spcPct val="90000"/>
            </a:lnSpc>
            <a:spcBef>
              <a:spcPct val="0"/>
            </a:spcBef>
            <a:spcAft>
              <a:spcPct val="35000"/>
            </a:spcAft>
          </a:pPr>
          <a:r>
            <a:rPr lang="de-DE" sz="1500" kern="1200" dirty="0"/>
            <a:t>Planung</a:t>
          </a:r>
          <a:r>
            <a:rPr lang="de-DE" sz="1500" kern="1200" dirty="0">
              <a:latin typeface="TKTypeMedium"/>
            </a:rPr>
            <a:t>*</a:t>
          </a:r>
          <a:endParaRPr lang="de-DE" sz="1500" kern="1200" dirty="0"/>
        </a:p>
      </dsp:txBody>
      <dsp:txXfrm rot="10800000">
        <a:off x="987133" y="0"/>
        <a:ext cx="1969856" cy="739934"/>
      </dsp:txXfrm>
    </dsp:sp>
    <dsp:sp modelId="{EEB60B08-DE18-47F4-AF93-A4FE1EEF3730}">
      <dsp:nvSpPr>
        <dsp:cNvPr id="0" name=""/>
        <dsp:cNvSpPr/>
      </dsp:nvSpPr>
      <dsp:spPr>
        <a:xfrm>
          <a:off x="357776" y="1369"/>
          <a:ext cx="739934" cy="739934"/>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7000" r="-37000"/>
          </a:stretch>
        </a:blipFill>
        <a:ln w="25400" cap="flat" cmpd="sng" algn="ctr">
          <a:solidFill>
            <a:srgbClr val="F1F193"/>
          </a:solidFill>
          <a:prstDash val="solid"/>
        </a:ln>
        <a:effectLst/>
      </dsp:spPr>
      <dsp:style>
        <a:lnRef idx="2">
          <a:scrgbClr r="0" g="0" b="0"/>
        </a:lnRef>
        <a:fillRef idx="1">
          <a:scrgbClr r="0" g="0" b="0"/>
        </a:fillRef>
        <a:effectRef idx="0">
          <a:scrgbClr r="0" g="0" b="0"/>
        </a:effectRef>
        <a:fontRef idx="minor"/>
      </dsp:style>
    </dsp:sp>
    <dsp:sp modelId="{4E0FFBB5-17B8-4AFD-A060-276F9E1F9C1D}">
      <dsp:nvSpPr>
        <dsp:cNvPr id="0" name=""/>
        <dsp:cNvSpPr/>
      </dsp:nvSpPr>
      <dsp:spPr>
        <a:xfrm rot="10800000">
          <a:off x="727744" y="962180"/>
          <a:ext cx="2154839" cy="739934"/>
        </a:xfrm>
        <a:prstGeom prst="homePlate">
          <a:avLst/>
        </a:prstGeom>
        <a:solidFill>
          <a:srgbClr val="92D050"/>
        </a:solidFill>
        <a:ln w="25400" cap="flat" cmpd="sng" algn="ctr">
          <a:solidFill>
            <a:srgbClr val="92D05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6291" tIns="57150" rIns="106680" bIns="57150" numCol="1" spcCol="1270" anchor="ctr" anchorCtr="0">
          <a:noAutofit/>
        </a:bodyPr>
        <a:lstStyle/>
        <a:p>
          <a:pPr lvl="0" algn="ctr" defTabSz="666750">
            <a:lnSpc>
              <a:spcPct val="90000"/>
            </a:lnSpc>
            <a:spcBef>
              <a:spcPct val="0"/>
            </a:spcBef>
            <a:spcAft>
              <a:spcPct val="35000"/>
            </a:spcAft>
          </a:pPr>
          <a:r>
            <a:rPr lang="de-DE" sz="1500" kern="1200" dirty="0"/>
            <a:t>Durchführung</a:t>
          </a:r>
          <a:r>
            <a:rPr lang="de-DE" sz="1500" kern="1200" dirty="0">
              <a:latin typeface="TKTypeMedium"/>
            </a:rPr>
            <a:t>*</a:t>
          </a:r>
          <a:endParaRPr lang="de-DE" sz="1500" kern="1200" dirty="0"/>
        </a:p>
      </dsp:txBody>
      <dsp:txXfrm rot="10800000">
        <a:off x="912727" y="962180"/>
        <a:ext cx="1969856" cy="739934"/>
      </dsp:txXfrm>
    </dsp:sp>
    <dsp:sp modelId="{917F9E7B-A053-488F-A708-83B2E3237B92}">
      <dsp:nvSpPr>
        <dsp:cNvPr id="0" name=""/>
        <dsp:cNvSpPr/>
      </dsp:nvSpPr>
      <dsp:spPr>
        <a:xfrm>
          <a:off x="357776" y="962180"/>
          <a:ext cx="739934" cy="739934"/>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7000" r="-37000"/>
          </a:stretch>
        </a:blipFill>
        <a:ln w="25400" cap="flat" cmpd="sng" algn="ctr">
          <a:solidFill>
            <a:srgbClr val="92D050"/>
          </a:solidFill>
          <a:prstDash val="solid"/>
        </a:ln>
        <a:effectLst/>
      </dsp:spPr>
      <dsp:style>
        <a:lnRef idx="2">
          <a:scrgbClr r="0" g="0" b="0"/>
        </a:lnRef>
        <a:fillRef idx="1">
          <a:scrgbClr r="0" g="0" b="0"/>
        </a:fillRef>
        <a:effectRef idx="0">
          <a:scrgbClr r="0" g="0" b="0"/>
        </a:effectRef>
        <a:fontRef idx="minor"/>
      </dsp:style>
    </dsp:sp>
    <dsp:sp modelId="{CD5AE923-A9D3-4CA0-922A-A7C71150345C}">
      <dsp:nvSpPr>
        <dsp:cNvPr id="0" name=""/>
        <dsp:cNvSpPr/>
      </dsp:nvSpPr>
      <dsp:spPr>
        <a:xfrm rot="10800000">
          <a:off x="717588" y="1922991"/>
          <a:ext cx="2154839" cy="739934"/>
        </a:xfrm>
        <a:prstGeom prst="homePlat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6291" tIns="57150" rIns="106680" bIns="57150" numCol="1" spcCol="1270" anchor="ctr" anchorCtr="0">
          <a:noAutofit/>
        </a:bodyPr>
        <a:lstStyle/>
        <a:p>
          <a:pPr lvl="0" algn="ctr" defTabSz="666750">
            <a:lnSpc>
              <a:spcPct val="90000"/>
            </a:lnSpc>
            <a:spcBef>
              <a:spcPct val="0"/>
            </a:spcBef>
            <a:spcAft>
              <a:spcPct val="35000"/>
            </a:spcAft>
          </a:pPr>
          <a:r>
            <a:rPr lang="de-DE" sz="1500" kern="1200" dirty="0"/>
            <a:t>Bewertung</a:t>
          </a:r>
          <a:r>
            <a:rPr lang="de-DE" sz="1500" kern="1200" dirty="0">
              <a:latin typeface="TKTypeMedium"/>
            </a:rPr>
            <a:t>*</a:t>
          </a:r>
          <a:endParaRPr lang="de-DE" sz="1500" kern="1200" dirty="0"/>
        </a:p>
      </dsp:txBody>
      <dsp:txXfrm rot="10800000">
        <a:off x="902571" y="1922991"/>
        <a:ext cx="1969856" cy="739934"/>
      </dsp:txXfrm>
    </dsp:sp>
    <dsp:sp modelId="{F1A2F206-764E-4545-9CA5-DF58106137B7}">
      <dsp:nvSpPr>
        <dsp:cNvPr id="0" name=""/>
        <dsp:cNvSpPr/>
      </dsp:nvSpPr>
      <dsp:spPr>
        <a:xfrm flipV="1">
          <a:off x="367932" y="1978035"/>
          <a:ext cx="699312" cy="629847"/>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6000" b="-6000"/>
          </a:stretch>
        </a:blipFill>
        <a:ln w="25400" cap="flat" cmpd="sng" algn="ctr">
          <a:solidFill>
            <a:srgbClr val="558ED5"/>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B15EB3-32BF-4130-AF96-845130024DD7}">
      <dsp:nvSpPr>
        <dsp:cNvPr id="0" name=""/>
        <dsp:cNvSpPr/>
      </dsp:nvSpPr>
      <dsp:spPr>
        <a:xfrm>
          <a:off x="312432" y="663488"/>
          <a:ext cx="3586147" cy="3586147"/>
        </a:xfrm>
        <a:prstGeom prst="blockArc">
          <a:avLst>
            <a:gd name="adj1" fmla="val 13407676"/>
            <a:gd name="adj2" fmla="val 16306287"/>
            <a:gd name="adj3" fmla="val 3888"/>
          </a:avLst>
        </a:prstGeom>
        <a:solidFill>
          <a:schemeClr val="bg2"/>
        </a:solidFill>
        <a:ln>
          <a:noFill/>
        </a:ln>
        <a:effectLst/>
      </dsp:spPr>
      <dsp:style>
        <a:lnRef idx="0">
          <a:scrgbClr r="0" g="0" b="0"/>
        </a:lnRef>
        <a:fillRef idx="1">
          <a:scrgbClr r="0" g="0" b="0"/>
        </a:fillRef>
        <a:effectRef idx="0">
          <a:scrgbClr r="0" g="0" b="0"/>
        </a:effectRef>
        <a:fontRef idx="minor">
          <a:schemeClr val="lt1"/>
        </a:fontRef>
      </dsp:style>
    </dsp:sp>
    <dsp:sp modelId="{BF898D41-D9F7-4A93-9B2F-12B4D5138213}">
      <dsp:nvSpPr>
        <dsp:cNvPr id="0" name=""/>
        <dsp:cNvSpPr/>
      </dsp:nvSpPr>
      <dsp:spPr>
        <a:xfrm>
          <a:off x="648083" y="156439"/>
          <a:ext cx="3586147" cy="3586147"/>
        </a:xfrm>
        <a:prstGeom prst="blockArc">
          <a:avLst>
            <a:gd name="adj1" fmla="val 9796501"/>
            <a:gd name="adj2" fmla="val 12212727"/>
            <a:gd name="adj3" fmla="val 3888"/>
          </a:avLst>
        </a:prstGeom>
        <a:solidFill>
          <a:schemeClr val="bg2"/>
        </a:solidFill>
        <a:ln>
          <a:noFill/>
        </a:ln>
        <a:effectLst/>
      </dsp:spPr>
      <dsp:style>
        <a:lnRef idx="0">
          <a:scrgbClr r="0" g="0" b="0"/>
        </a:lnRef>
        <a:fillRef idx="1">
          <a:scrgbClr r="0" g="0" b="0"/>
        </a:fillRef>
        <a:effectRef idx="0">
          <a:scrgbClr r="0" g="0" b="0"/>
        </a:effectRef>
        <a:fontRef idx="minor">
          <a:schemeClr val="lt1"/>
        </a:fontRef>
      </dsp:style>
    </dsp:sp>
    <dsp:sp modelId="{230D7EA6-DF66-4609-B207-F0A6A1510B6F}">
      <dsp:nvSpPr>
        <dsp:cNvPr id="0" name=""/>
        <dsp:cNvSpPr/>
      </dsp:nvSpPr>
      <dsp:spPr>
        <a:xfrm>
          <a:off x="688404" y="318036"/>
          <a:ext cx="3586147" cy="3586147"/>
        </a:xfrm>
        <a:prstGeom prst="blockArc">
          <a:avLst>
            <a:gd name="adj1" fmla="val 7884492"/>
            <a:gd name="adj2" fmla="val 10122271"/>
            <a:gd name="adj3" fmla="val 3888"/>
          </a:avLst>
        </a:prstGeom>
        <a:solidFill>
          <a:schemeClr val="bg2"/>
        </a:solidFill>
        <a:ln>
          <a:noFill/>
        </a:ln>
        <a:effectLst/>
      </dsp:spPr>
      <dsp:style>
        <a:lnRef idx="0">
          <a:scrgbClr r="0" g="0" b="0"/>
        </a:lnRef>
        <a:fillRef idx="1">
          <a:scrgbClr r="0" g="0" b="0"/>
        </a:fillRef>
        <a:effectRef idx="0">
          <a:scrgbClr r="0" g="0" b="0"/>
        </a:effectRef>
        <a:fontRef idx="minor">
          <a:schemeClr val="lt1"/>
        </a:fontRef>
      </dsp:style>
    </dsp:sp>
    <dsp:sp modelId="{7D78BC74-5F31-441C-9D7D-1013BFE788E9}">
      <dsp:nvSpPr>
        <dsp:cNvPr id="0" name=""/>
        <dsp:cNvSpPr/>
      </dsp:nvSpPr>
      <dsp:spPr>
        <a:xfrm>
          <a:off x="422683" y="124655"/>
          <a:ext cx="3586147" cy="3586147"/>
        </a:xfrm>
        <a:prstGeom prst="blockArc">
          <a:avLst>
            <a:gd name="adj1" fmla="val 3299352"/>
            <a:gd name="adj2" fmla="val 7240984"/>
            <a:gd name="adj3" fmla="val 3888"/>
          </a:avLst>
        </a:prstGeom>
        <a:solidFill>
          <a:schemeClr val="bg2"/>
        </a:solidFill>
        <a:ln>
          <a:noFill/>
        </a:ln>
        <a:effectLst/>
      </dsp:spPr>
      <dsp:style>
        <a:lnRef idx="0">
          <a:scrgbClr r="0" g="0" b="0"/>
        </a:lnRef>
        <a:fillRef idx="1">
          <a:scrgbClr r="0" g="0" b="0"/>
        </a:fillRef>
        <a:effectRef idx="0">
          <a:scrgbClr r="0" g="0" b="0"/>
        </a:effectRef>
        <a:fontRef idx="minor">
          <a:schemeClr val="lt1"/>
        </a:fontRef>
      </dsp:style>
    </dsp:sp>
    <dsp:sp modelId="{C357D92B-0433-49E8-B4BB-30E393B4BFBD}">
      <dsp:nvSpPr>
        <dsp:cNvPr id="0" name=""/>
        <dsp:cNvSpPr/>
      </dsp:nvSpPr>
      <dsp:spPr>
        <a:xfrm>
          <a:off x="67727" y="454914"/>
          <a:ext cx="3586147" cy="3586147"/>
        </a:xfrm>
        <a:prstGeom prst="blockArc">
          <a:avLst>
            <a:gd name="adj1" fmla="val 14219"/>
            <a:gd name="adj2" fmla="val 2348352"/>
            <a:gd name="adj3" fmla="val 3888"/>
          </a:avLst>
        </a:prstGeom>
        <a:solidFill>
          <a:schemeClr val="bg2"/>
        </a:solidFill>
        <a:ln>
          <a:noFill/>
        </a:ln>
        <a:effectLst/>
      </dsp:spPr>
      <dsp:style>
        <a:lnRef idx="0">
          <a:scrgbClr r="0" g="0" b="0"/>
        </a:lnRef>
        <a:fillRef idx="1">
          <a:scrgbClr r="0" g="0" b="0"/>
        </a:fillRef>
        <a:effectRef idx="0">
          <a:scrgbClr r="0" g="0" b="0"/>
        </a:effectRef>
        <a:fontRef idx="minor">
          <a:schemeClr val="lt1"/>
        </a:fontRef>
      </dsp:style>
    </dsp:sp>
    <dsp:sp modelId="{0FA3A3C9-B204-4044-94B1-6EEA93AB1220}">
      <dsp:nvSpPr>
        <dsp:cNvPr id="0" name=""/>
        <dsp:cNvSpPr/>
      </dsp:nvSpPr>
      <dsp:spPr>
        <a:xfrm>
          <a:off x="102345" y="114935"/>
          <a:ext cx="3586147" cy="3586147"/>
        </a:xfrm>
        <a:prstGeom prst="blockArc">
          <a:avLst>
            <a:gd name="adj1" fmla="val 20121958"/>
            <a:gd name="adj2" fmla="val 683455"/>
            <a:gd name="adj3" fmla="val 3888"/>
          </a:avLst>
        </a:prstGeom>
        <a:solidFill>
          <a:schemeClr val="bg2"/>
        </a:solidFill>
        <a:ln>
          <a:noFill/>
        </a:ln>
        <a:effectLst/>
      </dsp:spPr>
      <dsp:style>
        <a:lnRef idx="0">
          <a:scrgbClr r="0" g="0" b="0"/>
        </a:lnRef>
        <a:fillRef idx="1">
          <a:scrgbClr r="0" g="0" b="0"/>
        </a:fillRef>
        <a:effectRef idx="0">
          <a:scrgbClr r="0" g="0" b="0"/>
        </a:effectRef>
        <a:fontRef idx="minor">
          <a:schemeClr val="lt1"/>
        </a:fontRef>
      </dsp:style>
    </dsp:sp>
    <dsp:sp modelId="{74C6E956-CDC8-47DE-9BCA-3F1B51BAF29A}">
      <dsp:nvSpPr>
        <dsp:cNvPr id="0" name=""/>
        <dsp:cNvSpPr/>
      </dsp:nvSpPr>
      <dsp:spPr>
        <a:xfrm>
          <a:off x="492769" y="659809"/>
          <a:ext cx="3586147" cy="3586147"/>
        </a:xfrm>
        <a:prstGeom prst="blockArc">
          <a:avLst>
            <a:gd name="adj1" fmla="val 15953456"/>
            <a:gd name="adj2" fmla="val 18803265"/>
            <a:gd name="adj3" fmla="val 3888"/>
          </a:avLst>
        </a:prstGeom>
        <a:solidFill>
          <a:schemeClr val="bg2"/>
        </a:solidFill>
        <a:ln>
          <a:noFill/>
        </a:ln>
        <a:effectLst/>
      </dsp:spPr>
      <dsp:style>
        <a:lnRef idx="0">
          <a:scrgbClr r="0" g="0" b="0"/>
        </a:lnRef>
        <a:fillRef idx="1">
          <a:scrgbClr r="0" g="0" b="0"/>
        </a:fillRef>
        <a:effectRef idx="0">
          <a:scrgbClr r="0" g="0" b="0"/>
        </a:effectRef>
        <a:fontRef idx="minor">
          <a:schemeClr val="lt1"/>
        </a:fontRef>
      </dsp:style>
    </dsp:sp>
    <dsp:sp modelId="{473F6743-846F-4BB9-892C-1DD2B235B7D1}">
      <dsp:nvSpPr>
        <dsp:cNvPr id="0" name=""/>
        <dsp:cNvSpPr/>
      </dsp:nvSpPr>
      <dsp:spPr>
        <a:xfrm>
          <a:off x="1440144" y="1433529"/>
          <a:ext cx="1383139" cy="1383139"/>
        </a:xfrm>
        <a:prstGeom prst="ellipse">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de-DE" sz="1200" kern="1200" dirty="0"/>
            <a:t>Informations- </a:t>
          </a:r>
          <a:r>
            <a:rPr lang="de-DE" sz="1200" kern="1200" dirty="0" err="1"/>
            <a:t>austausch</a:t>
          </a:r>
          <a:endParaRPr lang="de-DE" sz="1200" kern="1200" dirty="0"/>
        </a:p>
      </dsp:txBody>
      <dsp:txXfrm>
        <a:off x="1642700" y="1636085"/>
        <a:ext cx="978027" cy="978027"/>
      </dsp:txXfrm>
    </dsp:sp>
    <dsp:sp modelId="{7DD81091-6461-4DBF-96E7-DCF2D98EA454}">
      <dsp:nvSpPr>
        <dsp:cNvPr id="0" name=""/>
        <dsp:cNvSpPr/>
      </dsp:nvSpPr>
      <dsp:spPr>
        <a:xfrm>
          <a:off x="1340820" y="215084"/>
          <a:ext cx="1638074" cy="968197"/>
        </a:xfrm>
        <a:prstGeom prst="ellips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t>Klassen-pflegschaft</a:t>
          </a:r>
          <a:endParaRPr lang="de-DE" sz="700" kern="1200" dirty="0"/>
        </a:p>
      </dsp:txBody>
      <dsp:txXfrm>
        <a:off x="1580710" y="356873"/>
        <a:ext cx="1158294" cy="684619"/>
      </dsp:txXfrm>
    </dsp:sp>
    <dsp:sp modelId="{4D51E35F-8107-48C4-9242-FBA39D818F9E}">
      <dsp:nvSpPr>
        <dsp:cNvPr id="0" name=""/>
        <dsp:cNvSpPr/>
      </dsp:nvSpPr>
      <dsp:spPr>
        <a:xfrm>
          <a:off x="2895138" y="691048"/>
          <a:ext cx="1196963" cy="968197"/>
        </a:xfrm>
        <a:prstGeom prst="ellips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t>Sprech-stunden</a:t>
          </a:r>
        </a:p>
      </dsp:txBody>
      <dsp:txXfrm>
        <a:off x="3070429" y="832837"/>
        <a:ext cx="846381" cy="684619"/>
      </dsp:txXfrm>
    </dsp:sp>
    <dsp:sp modelId="{F82D467E-DD5C-4CD0-8DB1-BC91D0067FAC}">
      <dsp:nvSpPr>
        <dsp:cNvPr id="0" name=""/>
        <dsp:cNvSpPr/>
      </dsp:nvSpPr>
      <dsp:spPr>
        <a:xfrm>
          <a:off x="2865505" y="1771162"/>
          <a:ext cx="1506999" cy="968197"/>
        </a:xfrm>
        <a:prstGeom prst="ellips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t>Persönliche Gespräche</a:t>
          </a:r>
        </a:p>
      </dsp:txBody>
      <dsp:txXfrm>
        <a:off x="3086200" y="1912951"/>
        <a:ext cx="1065609" cy="684619"/>
      </dsp:txXfrm>
    </dsp:sp>
    <dsp:sp modelId="{6EA212D3-A04B-4624-A46E-24D669E130BB}">
      <dsp:nvSpPr>
        <dsp:cNvPr id="0" name=""/>
        <dsp:cNvSpPr/>
      </dsp:nvSpPr>
      <dsp:spPr>
        <a:xfrm>
          <a:off x="2075445" y="2873689"/>
          <a:ext cx="2298114" cy="968197"/>
        </a:xfrm>
        <a:prstGeom prst="ellips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t>Eltern-/ Schülersprechtag</a:t>
          </a:r>
        </a:p>
      </dsp:txBody>
      <dsp:txXfrm>
        <a:off x="2411996" y="3015478"/>
        <a:ext cx="1625012" cy="684619"/>
      </dsp:txXfrm>
    </dsp:sp>
    <dsp:sp modelId="{FCD5746F-ACBA-43A0-9C63-3D352742A6BB}">
      <dsp:nvSpPr>
        <dsp:cNvPr id="0" name=""/>
        <dsp:cNvSpPr/>
      </dsp:nvSpPr>
      <dsp:spPr>
        <a:xfrm>
          <a:off x="720076" y="2945704"/>
          <a:ext cx="1196963" cy="968197"/>
        </a:xfrm>
        <a:prstGeom prst="ellips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t>Info-abende</a:t>
          </a:r>
        </a:p>
      </dsp:txBody>
      <dsp:txXfrm>
        <a:off x="895367" y="3087493"/>
        <a:ext cx="846381" cy="684619"/>
      </dsp:txXfrm>
    </dsp:sp>
    <dsp:sp modelId="{00ED20AC-D6A1-4966-9D81-7F3A8DF8F1F2}">
      <dsp:nvSpPr>
        <dsp:cNvPr id="0" name=""/>
        <dsp:cNvSpPr/>
      </dsp:nvSpPr>
      <dsp:spPr>
        <a:xfrm>
          <a:off x="158834" y="1971391"/>
          <a:ext cx="1196963" cy="968197"/>
        </a:xfrm>
        <a:prstGeom prst="ellips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t>Log-</a:t>
          </a:r>
        </a:p>
        <a:p>
          <a:pPr lvl="0" algn="ctr" defTabSz="622300">
            <a:lnSpc>
              <a:spcPct val="90000"/>
            </a:lnSpc>
            <a:spcBef>
              <a:spcPct val="0"/>
            </a:spcBef>
            <a:spcAft>
              <a:spcPct val="35000"/>
            </a:spcAft>
          </a:pPr>
          <a:r>
            <a:rPr lang="de-DE" sz="1400" kern="1200" dirty="0"/>
            <a:t>Buch</a:t>
          </a:r>
        </a:p>
      </dsp:txBody>
      <dsp:txXfrm>
        <a:off x="334125" y="2113180"/>
        <a:ext cx="846381" cy="684619"/>
      </dsp:txXfrm>
    </dsp:sp>
    <dsp:sp modelId="{18D034CC-1C4B-4782-ABDA-B776613D5E3D}">
      <dsp:nvSpPr>
        <dsp:cNvPr id="0" name=""/>
        <dsp:cNvSpPr/>
      </dsp:nvSpPr>
      <dsp:spPr>
        <a:xfrm>
          <a:off x="230839" y="763047"/>
          <a:ext cx="1196963" cy="968197"/>
        </a:xfrm>
        <a:prstGeom prst="ellips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t>(…)</a:t>
          </a:r>
        </a:p>
      </dsp:txBody>
      <dsp:txXfrm>
        <a:off x="406130" y="904836"/>
        <a:ext cx="846381" cy="68461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3A2AAD-6F1E-425D-94C1-91C75B1E069F}">
      <dsp:nvSpPr>
        <dsp:cNvPr id="0" name=""/>
        <dsp:cNvSpPr/>
      </dsp:nvSpPr>
      <dsp:spPr>
        <a:xfrm>
          <a:off x="2997954" y="2027481"/>
          <a:ext cx="2425380" cy="2174878"/>
        </a:xfrm>
        <a:prstGeom prst="gear9">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solidFill>
                <a:schemeClr val="bg2">
                  <a:lumMod val="50000"/>
                </a:schemeClr>
              </a:solidFill>
            </a:rPr>
            <a:t>Elternpflegschaft/ Schulpflegschaft /Schulkonferenz</a:t>
          </a:r>
        </a:p>
      </dsp:txBody>
      <dsp:txXfrm>
        <a:off x="3466841" y="2536936"/>
        <a:ext cx="1487606" cy="1117932"/>
      </dsp:txXfrm>
    </dsp:sp>
    <dsp:sp modelId="{E664E2EA-E1A4-4910-BFD5-B4694A4CAF66}">
      <dsp:nvSpPr>
        <dsp:cNvPr id="0" name=""/>
        <dsp:cNvSpPr/>
      </dsp:nvSpPr>
      <dsp:spPr>
        <a:xfrm>
          <a:off x="1696976" y="1374322"/>
          <a:ext cx="1903421" cy="1859924"/>
        </a:xfrm>
        <a:prstGeom prst="gear6">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t>Mitwirkung in AGs</a:t>
          </a:r>
        </a:p>
      </dsp:txBody>
      <dsp:txXfrm>
        <a:off x="2171540" y="1845393"/>
        <a:ext cx="954293" cy="917782"/>
      </dsp:txXfrm>
    </dsp:sp>
    <dsp:sp modelId="{B82C5A57-C489-41FC-99ED-B032BC9D2C41}">
      <dsp:nvSpPr>
        <dsp:cNvPr id="0" name=""/>
        <dsp:cNvSpPr/>
      </dsp:nvSpPr>
      <dsp:spPr>
        <a:xfrm rot="20700000">
          <a:off x="2432275" y="-625"/>
          <a:ext cx="2227200" cy="2395397"/>
        </a:xfrm>
        <a:prstGeom prst="gear6">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a:t>Mitgliedschaft im Förderverein</a:t>
          </a:r>
        </a:p>
      </dsp:txBody>
      <dsp:txXfrm rot="-20700000">
        <a:off x="2910789" y="534731"/>
        <a:ext cx="1270172" cy="1324683"/>
      </dsp:txXfrm>
    </dsp:sp>
    <dsp:sp modelId="{6E0DA57D-F12E-495A-887F-F98F310DE934}">
      <dsp:nvSpPr>
        <dsp:cNvPr id="0" name=""/>
        <dsp:cNvSpPr/>
      </dsp:nvSpPr>
      <dsp:spPr>
        <a:xfrm>
          <a:off x="2953359" y="1700779"/>
          <a:ext cx="2783844" cy="2783844"/>
        </a:xfrm>
        <a:prstGeom prst="circularArrow">
          <a:avLst>
            <a:gd name="adj1" fmla="val 4687"/>
            <a:gd name="adj2" fmla="val 299029"/>
            <a:gd name="adj3" fmla="val 2510281"/>
            <a:gd name="adj4" fmla="val 15874011"/>
            <a:gd name="adj5" fmla="val 5469"/>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 modelId="{BF09467D-B64E-4545-952F-E21D4FDE25BF}">
      <dsp:nvSpPr>
        <dsp:cNvPr id="0" name=""/>
        <dsp:cNvSpPr/>
      </dsp:nvSpPr>
      <dsp:spPr>
        <a:xfrm>
          <a:off x="1577701" y="1164472"/>
          <a:ext cx="2022636" cy="2022636"/>
        </a:xfrm>
        <a:prstGeom prst="leftCircularArrow">
          <a:avLst>
            <a:gd name="adj1" fmla="val 6452"/>
            <a:gd name="adj2" fmla="val 429999"/>
            <a:gd name="adj3" fmla="val 10489124"/>
            <a:gd name="adj4" fmla="val 14837806"/>
            <a:gd name="adj5" fmla="val 7527"/>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 modelId="{B2A55E5F-F4BE-46FE-8E5D-F89272E2B1E5}">
      <dsp:nvSpPr>
        <dsp:cNvPr id="0" name=""/>
        <dsp:cNvSpPr/>
      </dsp:nvSpPr>
      <dsp:spPr>
        <a:xfrm>
          <a:off x="2385274" y="83758"/>
          <a:ext cx="2180809" cy="2180809"/>
        </a:xfrm>
        <a:prstGeom prst="circularArrow">
          <a:avLst>
            <a:gd name="adj1" fmla="val 5984"/>
            <a:gd name="adj2" fmla="val 394124"/>
            <a:gd name="adj3" fmla="val 13313824"/>
            <a:gd name="adj4" fmla="val 10508221"/>
            <a:gd name="adj5" fmla="val 6981"/>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A44E3A-C7C5-4E54-8B19-458E96B54923}">
      <dsp:nvSpPr>
        <dsp:cNvPr id="0" name=""/>
        <dsp:cNvSpPr/>
      </dsp:nvSpPr>
      <dsp:spPr>
        <a:xfrm>
          <a:off x="2131930" y="124996"/>
          <a:ext cx="3573929" cy="1241178"/>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7A2848-0E90-4A4A-AA9A-4304481007F7}">
      <dsp:nvSpPr>
        <dsp:cNvPr id="0" name=""/>
        <dsp:cNvSpPr/>
      </dsp:nvSpPr>
      <dsp:spPr>
        <a:xfrm>
          <a:off x="3577750" y="2954817"/>
          <a:ext cx="692622" cy="572307"/>
        </a:xfrm>
        <a:prstGeom prst="downArrow">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90FAA9C-9CC6-4474-AC13-E1B029D701BA}">
      <dsp:nvSpPr>
        <dsp:cNvPr id="0" name=""/>
        <dsp:cNvSpPr/>
      </dsp:nvSpPr>
      <dsp:spPr>
        <a:xfrm>
          <a:off x="2446923" y="3561049"/>
          <a:ext cx="2955024" cy="746735"/>
        </a:xfrm>
        <a:prstGeom prst="rect">
          <a:avLst/>
        </a:prstGeom>
        <a:solidFill>
          <a:srgbClr val="558ED5"/>
        </a:solid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de-DE" sz="1600" u="sng" kern="1200" dirty="0">
              <a:solidFill>
                <a:schemeClr val="bg1"/>
              </a:solidFill>
            </a:rPr>
            <a:t>DU</a:t>
          </a:r>
          <a:r>
            <a:rPr lang="de-DE" sz="1600" kern="1200" dirty="0">
              <a:solidFill>
                <a:schemeClr val="bg1"/>
              </a:solidFill>
            </a:rPr>
            <a:t> </a:t>
          </a:r>
        </a:p>
        <a:p>
          <a:pPr lvl="0" algn="ctr" defTabSz="711200">
            <a:lnSpc>
              <a:spcPct val="90000"/>
            </a:lnSpc>
            <a:spcBef>
              <a:spcPct val="0"/>
            </a:spcBef>
            <a:spcAft>
              <a:spcPct val="35000"/>
            </a:spcAft>
          </a:pPr>
          <a:r>
            <a:rPr lang="de-DE" sz="1600" kern="1200" dirty="0">
              <a:solidFill>
                <a:schemeClr val="bg1"/>
              </a:solidFill>
            </a:rPr>
            <a:t>an der Gesamtschule </a:t>
          </a:r>
          <a:r>
            <a:rPr lang="de-DE" sz="1600" kern="1200" dirty="0" err="1">
              <a:solidFill>
                <a:schemeClr val="bg1"/>
              </a:solidFill>
            </a:rPr>
            <a:t>Hiesfeld</a:t>
          </a:r>
          <a:endParaRPr lang="de-DE" sz="1600" kern="1200" dirty="0">
            <a:solidFill>
              <a:schemeClr val="bg1"/>
            </a:solidFill>
          </a:endParaRPr>
        </a:p>
      </dsp:txBody>
      <dsp:txXfrm>
        <a:off x="2446923" y="3561049"/>
        <a:ext cx="2955024" cy="746735"/>
      </dsp:txXfrm>
    </dsp:sp>
    <dsp:sp modelId="{EDA7F29C-106C-47EA-B507-6F78BFE36A2B}">
      <dsp:nvSpPr>
        <dsp:cNvPr id="0" name=""/>
        <dsp:cNvSpPr/>
      </dsp:nvSpPr>
      <dsp:spPr>
        <a:xfrm>
          <a:off x="3362457" y="1422325"/>
          <a:ext cx="1384382" cy="1326135"/>
        </a:xfrm>
        <a:prstGeom prst="ellipse">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de-DE" sz="1000" kern="1200" dirty="0"/>
            <a:t>Sanfter Übergang</a:t>
          </a:r>
        </a:p>
      </dsp:txBody>
      <dsp:txXfrm>
        <a:off x="3565195" y="1616533"/>
        <a:ext cx="978906" cy="937719"/>
      </dsp:txXfrm>
    </dsp:sp>
    <dsp:sp modelId="{F0DBF1F2-1932-4C64-BF40-22484154A1EC}">
      <dsp:nvSpPr>
        <dsp:cNvPr id="0" name=""/>
        <dsp:cNvSpPr/>
      </dsp:nvSpPr>
      <dsp:spPr>
        <a:xfrm>
          <a:off x="2447121" y="0"/>
          <a:ext cx="1947575" cy="1847501"/>
        </a:xfrm>
        <a:prstGeom prst="ellipse">
          <a:avLst/>
        </a:prstGeom>
        <a:solidFill>
          <a:srgbClr val="92D050"/>
        </a:solidFill>
        <a:ln w="25400" cap="flat" cmpd="sng" algn="ctr">
          <a:solidFill>
            <a:srgbClr val="92D05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de-DE" sz="1000" kern="1200" dirty="0" err="1"/>
            <a:t>Kennenlernnachmittag</a:t>
          </a:r>
          <a:r>
            <a:rPr lang="de-DE" sz="1000" kern="1200" dirty="0"/>
            <a:t> </a:t>
          </a:r>
          <a:r>
            <a:rPr lang="de-DE" sz="1000" b="1" u="sng" kern="1200" dirty="0"/>
            <a:t>vor </a:t>
          </a:r>
          <a:r>
            <a:rPr lang="de-DE" sz="1000" kern="1200" dirty="0"/>
            <a:t>Schulbeginn</a:t>
          </a:r>
        </a:p>
      </dsp:txBody>
      <dsp:txXfrm>
        <a:off x="2732337" y="270560"/>
        <a:ext cx="1377143" cy="1306381"/>
      </dsp:txXfrm>
    </dsp:sp>
    <dsp:sp modelId="{CF075DED-9356-4F0F-B11E-82F1ECA87F1F}">
      <dsp:nvSpPr>
        <dsp:cNvPr id="0" name=""/>
        <dsp:cNvSpPr/>
      </dsp:nvSpPr>
      <dsp:spPr>
        <a:xfrm>
          <a:off x="4065235" y="416279"/>
          <a:ext cx="1426683" cy="1387436"/>
        </a:xfrm>
        <a:prstGeom prst="ellipse">
          <a:avLst/>
        </a:prstGeom>
        <a:solidFill>
          <a:srgbClr val="558E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de-DE" sz="1000" kern="1200" dirty="0"/>
            <a:t>Kennenlernen (Klasse, Logbuch, Regeln, Methoden, ...)</a:t>
          </a:r>
        </a:p>
      </dsp:txBody>
      <dsp:txXfrm>
        <a:off x="4274168" y="619464"/>
        <a:ext cx="1008817" cy="981066"/>
      </dsp:txXfrm>
    </dsp:sp>
    <dsp:sp modelId="{D3DB8021-A107-4C04-A3FC-56841D73670E}">
      <dsp:nvSpPr>
        <dsp:cNvPr id="0" name=""/>
        <dsp:cNvSpPr/>
      </dsp:nvSpPr>
      <dsp:spPr>
        <a:xfrm>
          <a:off x="1985094" y="134872"/>
          <a:ext cx="3878683" cy="2778440"/>
        </a:xfrm>
        <a:prstGeom prst="funnel">
          <a:avLst/>
        </a:prstGeom>
        <a:solidFill>
          <a:schemeClr val="tx2">
            <a:alpha val="4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EF4592C6-EC63-4E9F-BAA3-4DE44D82438E}" type="datetimeFigureOut">
              <a:rPr lang="en-US" smtClean="0"/>
              <a:t>12/3/2025</a:t>
            </a:fld>
            <a:endParaRPr lang="en-US" dirty="0"/>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D4659CB2-3563-4795-8D9F-E1DBAB0CA135}" type="slidenum">
              <a:rPr lang="en-US" smtClean="0"/>
              <a:t>‹Nr.›</a:t>
            </a:fld>
            <a:endParaRPr lang="en-US" dirty="0"/>
          </a:p>
        </p:txBody>
      </p:sp>
    </p:spTree>
    <p:extLst>
      <p:ext uri="{BB962C8B-B14F-4D97-AF65-F5344CB8AC3E}">
        <p14:creationId xmlns:p14="http://schemas.microsoft.com/office/powerpoint/2010/main" val="2435799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4659CB2-3563-4795-8D9F-E1DBAB0CA135}" type="slidenum">
              <a:rPr lang="en-US" smtClean="0"/>
              <a:t>2</a:t>
            </a:fld>
            <a:endParaRPr lang="en-US" dirty="0"/>
          </a:p>
        </p:txBody>
      </p:sp>
    </p:spTree>
    <p:extLst>
      <p:ext uri="{BB962C8B-B14F-4D97-AF65-F5344CB8AC3E}">
        <p14:creationId xmlns:p14="http://schemas.microsoft.com/office/powerpoint/2010/main" val="445875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ranzösisch / Spanisch nicht in EF // untere grüne Zeile löschen </a:t>
            </a:r>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12</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4659CB2-3563-4795-8D9F-E1DBAB0CA135}" type="slidenum">
              <a:rPr lang="en-US" smtClean="0"/>
              <a:t>13</a:t>
            </a:fld>
            <a:endParaRPr lang="en-US" dirty="0"/>
          </a:p>
        </p:txBody>
      </p:sp>
    </p:spTree>
    <p:extLst>
      <p:ext uri="{BB962C8B-B14F-4D97-AF65-F5344CB8AC3E}">
        <p14:creationId xmlns:p14="http://schemas.microsoft.com/office/powerpoint/2010/main" val="12989881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4659CB2-3563-4795-8D9F-E1DBAB0CA135}" type="slidenum">
              <a:rPr lang="en-US" smtClean="0"/>
              <a:t>14</a:t>
            </a:fld>
            <a:endParaRPr lang="en-US" dirty="0"/>
          </a:p>
        </p:txBody>
      </p:sp>
    </p:spTree>
    <p:extLst>
      <p:ext uri="{BB962C8B-B14F-4D97-AF65-F5344CB8AC3E}">
        <p14:creationId xmlns:p14="http://schemas.microsoft.com/office/powerpoint/2010/main" val="32915790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4659CB2-3563-4795-8D9F-E1DBAB0CA135}" type="slidenum">
              <a:rPr lang="en-US" smtClean="0"/>
              <a:t>15</a:t>
            </a:fld>
            <a:endParaRPr lang="en-US" dirty="0"/>
          </a:p>
        </p:txBody>
      </p:sp>
    </p:spTree>
    <p:extLst>
      <p:ext uri="{BB962C8B-B14F-4D97-AF65-F5344CB8AC3E}">
        <p14:creationId xmlns:p14="http://schemas.microsoft.com/office/powerpoint/2010/main" val="1085098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4659CB2-3563-4795-8D9F-E1DBAB0CA135}" type="slidenum">
              <a:rPr lang="en-US" smtClean="0"/>
              <a:t>16</a:t>
            </a:fld>
            <a:endParaRPr lang="en-US" dirty="0"/>
          </a:p>
        </p:txBody>
      </p:sp>
    </p:spTree>
    <p:extLst>
      <p:ext uri="{BB962C8B-B14F-4D97-AF65-F5344CB8AC3E}">
        <p14:creationId xmlns:p14="http://schemas.microsoft.com/office/powerpoint/2010/main" val="32891996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okus auf Beratung- </a:t>
            </a:r>
            <a:r>
              <a:rPr lang="de-DE"/>
              <a:t>und Beziehungsarbeit </a:t>
            </a:r>
            <a:r>
              <a:rPr lang="de-DE" dirty="0"/>
              <a:t>hinzufügen</a:t>
            </a:r>
          </a:p>
        </p:txBody>
      </p:sp>
      <p:sp>
        <p:nvSpPr>
          <p:cNvPr id="4" name="Foliennummernplatzhalter 3"/>
          <p:cNvSpPr>
            <a:spLocks noGrp="1"/>
          </p:cNvSpPr>
          <p:nvPr>
            <p:ph type="sldNum" sz="quarter" idx="5"/>
          </p:nvPr>
        </p:nvSpPr>
        <p:spPr/>
        <p:txBody>
          <a:bodyPr/>
          <a:lstStyle/>
          <a:p>
            <a:fld id="{D4659CB2-3563-4795-8D9F-E1DBAB0CA135}" type="slidenum">
              <a:rPr lang="en-US" smtClean="0"/>
              <a:t>17</a:t>
            </a:fld>
            <a:endParaRPr lang="en-US" dirty="0"/>
          </a:p>
        </p:txBody>
      </p:sp>
    </p:spTree>
    <p:extLst>
      <p:ext uri="{BB962C8B-B14F-4D97-AF65-F5344CB8AC3E}">
        <p14:creationId xmlns:p14="http://schemas.microsoft.com/office/powerpoint/2010/main" val="3478618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18</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19</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20</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21</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4659CB2-3563-4795-8D9F-E1DBAB0CA135}" type="slidenum">
              <a:rPr lang="en-US" smtClean="0"/>
              <a:t>3</a:t>
            </a:fld>
            <a:endParaRPr lang="en-US" dirty="0"/>
          </a:p>
        </p:txBody>
      </p:sp>
    </p:spTree>
    <p:extLst>
      <p:ext uri="{BB962C8B-B14F-4D97-AF65-F5344CB8AC3E}">
        <p14:creationId xmlns:p14="http://schemas.microsoft.com/office/powerpoint/2010/main" val="22576838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stagram Posts</a:t>
            </a:r>
          </a:p>
        </p:txBody>
      </p:sp>
      <p:sp>
        <p:nvSpPr>
          <p:cNvPr id="4" name="Foliennummernplatzhalter 3"/>
          <p:cNvSpPr>
            <a:spLocks noGrp="1"/>
          </p:cNvSpPr>
          <p:nvPr>
            <p:ph type="sldNum" sz="quarter" idx="5"/>
          </p:nvPr>
        </p:nvSpPr>
        <p:spPr/>
        <p:txBody>
          <a:bodyPr/>
          <a:lstStyle/>
          <a:p>
            <a:fld id="{D4659CB2-3563-4795-8D9F-E1DBAB0CA135}" type="slidenum">
              <a:rPr lang="en-US" smtClean="0"/>
              <a:t>22</a:t>
            </a:fld>
            <a:endParaRPr lang="en-US" dirty="0"/>
          </a:p>
        </p:txBody>
      </p:sp>
    </p:spTree>
    <p:extLst>
      <p:ext uri="{BB962C8B-B14F-4D97-AF65-F5344CB8AC3E}">
        <p14:creationId xmlns:p14="http://schemas.microsoft.com/office/powerpoint/2010/main" val="28449270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23</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B. eine Schülerin war unter den besten 10 Deutschlands</a:t>
            </a:r>
          </a:p>
          <a:p>
            <a:endParaRPr lang="de-DE" dirty="0"/>
          </a:p>
        </p:txBody>
      </p:sp>
      <p:sp>
        <p:nvSpPr>
          <p:cNvPr id="4" name="Foliennummernplatzhalter 3"/>
          <p:cNvSpPr>
            <a:spLocks noGrp="1"/>
          </p:cNvSpPr>
          <p:nvPr>
            <p:ph type="sldNum" sz="quarter" idx="5"/>
          </p:nvPr>
        </p:nvSpPr>
        <p:spPr/>
        <p:txBody>
          <a:bodyPr/>
          <a:lstStyle/>
          <a:p>
            <a:fld id="{D4659CB2-3563-4795-8D9F-E1DBAB0CA135}" type="slidenum">
              <a:rPr lang="en-US" smtClean="0"/>
              <a:t>24</a:t>
            </a:fld>
            <a:endParaRPr lang="en-US" dirty="0"/>
          </a:p>
        </p:txBody>
      </p:sp>
    </p:spTree>
    <p:extLst>
      <p:ext uri="{BB962C8B-B14F-4D97-AF65-F5344CB8AC3E}">
        <p14:creationId xmlns:p14="http://schemas.microsoft.com/office/powerpoint/2010/main" val="39750218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lder ohne Maske machen</a:t>
            </a:r>
          </a:p>
        </p:txBody>
      </p:sp>
      <p:sp>
        <p:nvSpPr>
          <p:cNvPr id="4" name="Foliennummernplatzhalter 3"/>
          <p:cNvSpPr>
            <a:spLocks noGrp="1"/>
          </p:cNvSpPr>
          <p:nvPr>
            <p:ph type="sldNum" sz="quarter" idx="5"/>
          </p:nvPr>
        </p:nvSpPr>
        <p:spPr/>
        <p:txBody>
          <a:bodyPr/>
          <a:lstStyle/>
          <a:p>
            <a:fld id="{D4659CB2-3563-4795-8D9F-E1DBAB0CA135}" type="slidenum">
              <a:rPr lang="en-US" smtClean="0"/>
              <a:t>25</a:t>
            </a:fld>
            <a:endParaRPr lang="en-US" dirty="0"/>
          </a:p>
        </p:txBody>
      </p:sp>
    </p:spTree>
    <p:extLst>
      <p:ext uri="{BB962C8B-B14F-4D97-AF65-F5344CB8AC3E}">
        <p14:creationId xmlns:p14="http://schemas.microsoft.com/office/powerpoint/2010/main" val="17534758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oster vom Winterball</a:t>
            </a:r>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26</a:t>
            </a:fld>
            <a:endParaRPr lang="de-DE" dirty="0">
              <a:solidFill>
                <a:prstClr val="black"/>
              </a:solidFill>
            </a:endParaRPr>
          </a:p>
        </p:txBody>
      </p:sp>
    </p:spTree>
    <p:extLst>
      <p:ext uri="{BB962C8B-B14F-4D97-AF65-F5344CB8AC3E}">
        <p14:creationId xmlns:p14="http://schemas.microsoft.com/office/powerpoint/2010/main" val="892541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27</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28</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29</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rojektwoche: PuK hinzufügen</a:t>
            </a:r>
          </a:p>
          <a:p>
            <a:r>
              <a:rPr lang="de-DE" dirty="0"/>
              <a:t>Bilder von dem </a:t>
            </a:r>
            <a:r>
              <a:rPr lang="de-DE" dirty="0" err="1"/>
              <a:t>Präsentationsnachmittag</a:t>
            </a:r>
            <a:endParaRPr lang="de-DE" dirty="0"/>
          </a:p>
          <a:p>
            <a:endParaRPr lang="de-DE" dirty="0"/>
          </a:p>
        </p:txBody>
      </p:sp>
      <p:sp>
        <p:nvSpPr>
          <p:cNvPr id="4" name="Foliennummernplatzhalter 3"/>
          <p:cNvSpPr>
            <a:spLocks noGrp="1"/>
          </p:cNvSpPr>
          <p:nvPr>
            <p:ph type="sldNum" sz="quarter" idx="5"/>
          </p:nvPr>
        </p:nvSpPr>
        <p:spPr/>
        <p:txBody>
          <a:bodyPr/>
          <a:lstStyle/>
          <a:p>
            <a:fld id="{D4659CB2-3563-4795-8D9F-E1DBAB0CA135}" type="slidenum">
              <a:rPr lang="en-US" smtClean="0"/>
              <a:t>30</a:t>
            </a:fld>
            <a:endParaRPr lang="en-US" dirty="0"/>
          </a:p>
        </p:txBody>
      </p:sp>
    </p:spTree>
    <p:extLst>
      <p:ext uri="{BB962C8B-B14F-4D97-AF65-F5344CB8AC3E}">
        <p14:creationId xmlns:p14="http://schemas.microsoft.com/office/powerpoint/2010/main" val="38369961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32</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4659CB2-3563-4795-8D9F-E1DBAB0CA135}" type="slidenum">
              <a:rPr lang="en-US" smtClean="0"/>
              <a:t>4</a:t>
            </a:fld>
            <a:endParaRPr lang="en-US" dirty="0"/>
          </a:p>
        </p:txBody>
      </p:sp>
    </p:spTree>
    <p:extLst>
      <p:ext uri="{BB962C8B-B14F-4D97-AF65-F5344CB8AC3E}">
        <p14:creationId xmlns:p14="http://schemas.microsoft.com/office/powerpoint/2010/main" val="15380798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34</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4659CB2-3563-4795-8D9F-E1DBAB0CA135}" type="slidenum">
              <a:rPr lang="en-US" smtClean="0"/>
              <a:t>5</a:t>
            </a:fld>
            <a:endParaRPr lang="en-US" dirty="0"/>
          </a:p>
        </p:txBody>
      </p:sp>
    </p:spTree>
    <p:extLst>
      <p:ext uri="{BB962C8B-B14F-4D97-AF65-F5344CB8AC3E}">
        <p14:creationId xmlns:p14="http://schemas.microsoft.com/office/powerpoint/2010/main" val="77685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iße Container?</a:t>
            </a:r>
          </a:p>
        </p:txBody>
      </p:sp>
      <p:sp>
        <p:nvSpPr>
          <p:cNvPr id="4" name="Foliennummernplatzhalter 3"/>
          <p:cNvSpPr>
            <a:spLocks noGrp="1"/>
          </p:cNvSpPr>
          <p:nvPr>
            <p:ph type="sldNum" sz="quarter" idx="5"/>
          </p:nvPr>
        </p:nvSpPr>
        <p:spPr/>
        <p:txBody>
          <a:bodyPr/>
          <a:lstStyle/>
          <a:p>
            <a:fld id="{D4659CB2-3563-4795-8D9F-E1DBAB0CA135}" type="slidenum">
              <a:rPr lang="en-US" smtClean="0"/>
              <a:t>6</a:t>
            </a:fld>
            <a:endParaRPr lang="en-US" dirty="0"/>
          </a:p>
        </p:txBody>
      </p:sp>
    </p:spTree>
    <p:extLst>
      <p:ext uri="{BB962C8B-B14F-4D97-AF65-F5344CB8AC3E}">
        <p14:creationId xmlns:p14="http://schemas.microsoft.com/office/powerpoint/2010/main" val="3719715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hrift schlecht zu sehen </a:t>
            </a:r>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8</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eigungsfächer ergänzen</a:t>
            </a:r>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9</a:t>
            </a:fld>
            <a:endParaRPr lang="de-DE" dirty="0">
              <a:solidFill>
                <a:prstClr val="black"/>
              </a:solidFill>
            </a:endParaRPr>
          </a:p>
        </p:txBody>
      </p:sp>
    </p:spTree>
    <p:extLst>
      <p:ext uri="{BB962C8B-B14F-4D97-AF65-F5344CB8AC3E}">
        <p14:creationId xmlns:p14="http://schemas.microsoft.com/office/powerpoint/2010/main" val="29896000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solidFill>
                  <a:prstClr val="black"/>
                </a:solidFill>
              </a:rPr>
              <a:pPr/>
              <a:t>10</a:t>
            </a:fld>
            <a:endParaRPr lang="de-DE" dirty="0">
              <a:solidFill>
                <a:prstClr val="black"/>
              </a:solidFill>
            </a:endParaRPr>
          </a:p>
        </p:txBody>
      </p:sp>
    </p:spTree>
    <p:extLst>
      <p:ext uri="{BB962C8B-B14F-4D97-AF65-F5344CB8AC3E}">
        <p14:creationId xmlns:p14="http://schemas.microsoft.com/office/powerpoint/2010/main" val="11749047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k_Titel weiß">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7216738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think-cell Folie" r:id="rId5" imgW="344" imgH="344" progId="TCLayout.ActiveDocument.1">
                  <p:embed/>
                </p:oleObj>
              </mc:Choice>
              <mc:Fallback>
                <p:oleObj name="think-cell Folie" r:id="rId5" imgW="344" imgH="344" progId="TCLayout.ActiveDocument.1">
                  <p:embed/>
                  <p:pic>
                    <p:nvPicPr>
                      <p:cNvPr id="8" name="Objek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600" b="0" i="0" baseline="0" dirty="0" err="1">
              <a:solidFill>
                <a:schemeClr val="tx1"/>
              </a:solidFill>
              <a:latin typeface="TKTypeMedium"/>
              <a:ea typeface="+mj-ea"/>
              <a:cs typeface="+mj-cs"/>
              <a:sym typeface="TKTypeMedium"/>
            </a:endParaRPr>
          </a:p>
        </p:txBody>
      </p:sp>
      <p:sp>
        <p:nvSpPr>
          <p:cNvPr id="2" name="Titel 1"/>
          <p:cNvSpPr>
            <a:spLocks noGrp="1"/>
          </p:cNvSpPr>
          <p:nvPr>
            <p:ph type="ctrTitle" hasCustomPrompt="1"/>
          </p:nvPr>
        </p:nvSpPr>
        <p:spPr bwMode="gray">
          <a:xfrm>
            <a:off x="503238" y="809297"/>
            <a:ext cx="7813178" cy="553998"/>
          </a:xfrm>
          <a:noFill/>
          <a:ln>
            <a:solidFill>
              <a:schemeClr val="bg1"/>
            </a:solidFill>
          </a:ln>
        </p:spPr>
        <p:txBody>
          <a:bodyPr anchor="t"/>
          <a:lstStyle>
            <a:lvl1pPr algn="l">
              <a:spcAft>
                <a:spcPts val="0"/>
              </a:spcAft>
              <a:defRPr sz="3600" baseline="0">
                <a:solidFill>
                  <a:srgbClr val="558ED5"/>
                </a:solidFill>
              </a:defRPr>
            </a:lvl1pPr>
          </a:lstStyle>
          <a:p>
            <a:r>
              <a:rPr lang="de-DE" dirty="0"/>
              <a:t>Neugründung Gesamtschule am GHZ</a:t>
            </a:r>
          </a:p>
        </p:txBody>
      </p:sp>
      <p:sp>
        <p:nvSpPr>
          <p:cNvPr id="3" name="Untertitel 2"/>
          <p:cNvSpPr>
            <a:spLocks noGrp="1"/>
          </p:cNvSpPr>
          <p:nvPr>
            <p:ph type="subTitle" idx="1" hasCustomPrompt="1"/>
          </p:nvPr>
        </p:nvSpPr>
        <p:spPr bwMode="gray">
          <a:xfrm>
            <a:off x="508004" y="1412776"/>
            <a:ext cx="6697661" cy="276999"/>
          </a:xfrm>
          <a:noFill/>
          <a:ln>
            <a:solidFill>
              <a:schemeClr val="bg1"/>
            </a:solidFill>
          </a:ln>
        </p:spPr>
        <p:txBody>
          <a:bodyPr>
            <a:spAutoFit/>
          </a:bodyPr>
          <a:lstStyle>
            <a:lvl1pPr marL="0" indent="0" algn="l">
              <a:spcBef>
                <a:spcPts val="0"/>
              </a:spcBef>
              <a:spcAft>
                <a:spcPts val="0"/>
              </a:spcAft>
              <a:buNone/>
              <a:defRPr sz="1800">
                <a:solidFill>
                  <a:srgbClr val="92D05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Konzeptvorschlag / Vorschlag zur Konzeptionierung</a:t>
            </a:r>
          </a:p>
        </p:txBody>
      </p:sp>
      <p:sp>
        <p:nvSpPr>
          <p:cNvPr id="44" name="Textplatzhalter 43"/>
          <p:cNvSpPr>
            <a:spLocks noGrp="1"/>
          </p:cNvSpPr>
          <p:nvPr>
            <p:ph type="body" sz="quarter" idx="10" hasCustomPrompt="1"/>
          </p:nvPr>
        </p:nvSpPr>
        <p:spPr bwMode="gray">
          <a:xfrm>
            <a:off x="539552" y="2924944"/>
            <a:ext cx="6697054" cy="430887"/>
          </a:xfrm>
          <a:noFill/>
          <a:ln>
            <a:solidFill>
              <a:schemeClr val="bg1"/>
            </a:solidFill>
          </a:ln>
        </p:spPr>
        <p:txBody>
          <a:bodyPr>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1" baseline="0">
                <a:solidFill>
                  <a:schemeClr val="tx1">
                    <a:lumMod val="60000"/>
                    <a:lumOff val="40000"/>
                  </a:schemeClr>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
            </a:r>
            <a:br>
              <a:rPr lang="de-DE" dirty="0"/>
            </a:br>
            <a:endParaRPr lang="de-DE" dirty="0"/>
          </a:p>
        </p:txBody>
      </p:sp>
    </p:spTree>
    <p:extLst>
      <p:ext uri="{BB962C8B-B14F-4D97-AF65-F5344CB8AC3E}">
        <p14:creationId xmlns:p14="http://schemas.microsoft.com/office/powerpoint/2010/main" val="16033206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30238" y="365125"/>
            <a:ext cx="7886700" cy="1325563"/>
          </a:xfrm>
        </p:spPr>
        <p:txBody>
          <a:bodyPr/>
          <a:lstStyle/>
          <a:p>
            <a:r>
              <a:rPr lang="de-DE"/>
              <a:t>Titelmasterformat durch Klicken bearbeiten</a:t>
            </a:r>
            <a:endParaRPr lang="en-US"/>
          </a:p>
        </p:txBody>
      </p:sp>
      <p:sp>
        <p:nvSpPr>
          <p:cNvPr id="3" name="Textplatzhalt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630238" y="2505075"/>
            <a:ext cx="386873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4629150" y="2505075"/>
            <a:ext cx="3887788"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p:cNvSpPr>
            <a:spLocks noGrp="1"/>
          </p:cNvSpPr>
          <p:nvPr>
            <p:ph type="dt" sz="half" idx="10"/>
          </p:nvPr>
        </p:nvSpPr>
        <p:spPr/>
        <p:txBody>
          <a:bodyPr/>
          <a:lstStyle/>
          <a:p>
            <a:endParaRPr lang="en-US"/>
          </a:p>
        </p:txBody>
      </p:sp>
      <p:sp>
        <p:nvSpPr>
          <p:cNvPr id="8" name="Fußzeilenplatzhalter 7"/>
          <p:cNvSpPr>
            <a:spLocks noGrp="1"/>
          </p:cNvSpPr>
          <p:nvPr>
            <p:ph type="ftr" sz="quarter" idx="11"/>
          </p:nvPr>
        </p:nvSpPr>
        <p:spPr/>
        <p:txBody>
          <a:bodyPr/>
          <a:lstStyle/>
          <a:p>
            <a:r>
              <a:rPr lang="en-US"/>
              <a:t>04.12.24 Infoabend GE Hiesfeld</a:t>
            </a:r>
          </a:p>
        </p:txBody>
      </p:sp>
      <p:sp>
        <p:nvSpPr>
          <p:cNvPr id="9" name="Foliennummernplatzhalter 8"/>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3039387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endParaRPr lang="en-US"/>
          </a:p>
        </p:txBody>
      </p:sp>
      <p:sp>
        <p:nvSpPr>
          <p:cNvPr id="4" name="Fußzeilenplatzhalter 3"/>
          <p:cNvSpPr>
            <a:spLocks noGrp="1"/>
          </p:cNvSpPr>
          <p:nvPr>
            <p:ph type="ftr" sz="quarter" idx="11"/>
          </p:nvPr>
        </p:nvSpPr>
        <p:spPr/>
        <p:txBody>
          <a:bodyPr/>
          <a:lstStyle/>
          <a:p>
            <a:r>
              <a:rPr lang="en-US"/>
              <a:t>04.12.24 Infoabend GE Hiesfeld</a:t>
            </a:r>
          </a:p>
        </p:txBody>
      </p:sp>
      <p:sp>
        <p:nvSpPr>
          <p:cNvPr id="5" name="Foliennummernplatzhalter 4"/>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35553917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en-US"/>
          </a:p>
        </p:txBody>
      </p:sp>
      <p:sp>
        <p:nvSpPr>
          <p:cNvPr id="3" name="Fußzeilenplatzhalter 2"/>
          <p:cNvSpPr>
            <a:spLocks noGrp="1"/>
          </p:cNvSpPr>
          <p:nvPr>
            <p:ph type="ftr" sz="quarter" idx="11"/>
          </p:nvPr>
        </p:nvSpPr>
        <p:spPr/>
        <p:txBody>
          <a:bodyPr/>
          <a:lstStyle/>
          <a:p>
            <a:r>
              <a:rPr lang="en-US"/>
              <a:t>04.12.24 Infoabend GE Hiesfeld</a:t>
            </a:r>
          </a:p>
        </p:txBody>
      </p:sp>
      <p:sp>
        <p:nvSpPr>
          <p:cNvPr id="4" name="Foliennummernplatzhalter 3"/>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7931622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30238" y="457200"/>
            <a:ext cx="2949575" cy="1600200"/>
          </a:xfrm>
        </p:spPr>
        <p:txBody>
          <a:bodyPr anchor="b"/>
          <a:lstStyle>
            <a:lvl1pPr>
              <a:defRPr sz="3200"/>
            </a:lvl1pPr>
          </a:lstStyle>
          <a:p>
            <a:r>
              <a:rPr lang="de-DE"/>
              <a:t>Titelmasterformat durch Klicken bearbeiten</a:t>
            </a:r>
            <a:endParaRPr lang="en-US"/>
          </a:p>
        </p:txBody>
      </p:sp>
      <p:sp>
        <p:nvSpPr>
          <p:cNvPr id="3" name="Inhaltsplatzhalt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endParaRPr lang="en-US"/>
          </a:p>
        </p:txBody>
      </p:sp>
      <p:sp>
        <p:nvSpPr>
          <p:cNvPr id="6" name="Fußzeilenplatzhalter 5"/>
          <p:cNvSpPr>
            <a:spLocks noGrp="1"/>
          </p:cNvSpPr>
          <p:nvPr>
            <p:ph type="ftr" sz="quarter" idx="11"/>
          </p:nvPr>
        </p:nvSpPr>
        <p:spPr/>
        <p:txBody>
          <a:bodyPr/>
          <a:lstStyle/>
          <a:p>
            <a:r>
              <a:rPr lang="en-US"/>
              <a:t>04.12.24 Infoabend GE Hiesfeld</a:t>
            </a:r>
          </a:p>
        </p:txBody>
      </p:sp>
      <p:sp>
        <p:nvSpPr>
          <p:cNvPr id="7" name="Foliennummernplatzhalter 6"/>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20895964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30238" y="457200"/>
            <a:ext cx="2949575" cy="1600200"/>
          </a:xfrm>
        </p:spPr>
        <p:txBody>
          <a:bodyPr anchor="b"/>
          <a:lstStyle>
            <a:lvl1pPr>
              <a:defRPr sz="3200"/>
            </a:lvl1pPr>
          </a:lstStyle>
          <a:p>
            <a:r>
              <a:rPr lang="de-DE"/>
              <a:t>Titelmasterformat durch Klicken bearbeiten</a:t>
            </a:r>
            <a:endParaRPr lang="en-US"/>
          </a:p>
        </p:txBody>
      </p:sp>
      <p:sp>
        <p:nvSpPr>
          <p:cNvPr id="3" name="Bildplatzhalt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endParaRPr lang="en-US"/>
          </a:p>
        </p:txBody>
      </p:sp>
      <p:sp>
        <p:nvSpPr>
          <p:cNvPr id="6" name="Fußzeilenplatzhalter 5"/>
          <p:cNvSpPr>
            <a:spLocks noGrp="1"/>
          </p:cNvSpPr>
          <p:nvPr>
            <p:ph type="ftr" sz="quarter" idx="11"/>
          </p:nvPr>
        </p:nvSpPr>
        <p:spPr/>
        <p:txBody>
          <a:bodyPr/>
          <a:lstStyle/>
          <a:p>
            <a:r>
              <a:rPr lang="en-US"/>
              <a:t>04.12.24 Infoabend GE Hiesfeld</a:t>
            </a:r>
          </a:p>
        </p:txBody>
      </p:sp>
      <p:sp>
        <p:nvSpPr>
          <p:cNvPr id="7" name="Foliennummernplatzhalter 6"/>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20918149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endParaRPr lang="en-US"/>
          </a:p>
        </p:txBody>
      </p:sp>
      <p:sp>
        <p:nvSpPr>
          <p:cNvPr id="5" name="Fußzeilenplatzhalter 4"/>
          <p:cNvSpPr>
            <a:spLocks noGrp="1"/>
          </p:cNvSpPr>
          <p:nvPr>
            <p:ph type="ftr" sz="quarter" idx="11"/>
          </p:nvPr>
        </p:nvSpPr>
        <p:spPr/>
        <p:txBody>
          <a:bodyPr/>
          <a:lstStyle/>
          <a:p>
            <a:r>
              <a:rPr lang="en-US"/>
              <a:t>04.12.24 Infoabend GE Hiesfeld</a:t>
            </a:r>
          </a:p>
        </p:txBody>
      </p:sp>
      <p:sp>
        <p:nvSpPr>
          <p:cNvPr id="6" name="Foliennummernplatzhalter 5"/>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25009348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43675" y="365125"/>
            <a:ext cx="1971675" cy="5811838"/>
          </a:xfrm>
        </p:spPr>
        <p:txBody>
          <a:bodyPr vert="eaVert"/>
          <a:lstStyle/>
          <a:p>
            <a:r>
              <a:rPr lang="de-DE"/>
              <a:t>Titelmasterformat durch Klicken bearbeiten</a:t>
            </a:r>
            <a:endParaRPr lang="en-US"/>
          </a:p>
        </p:txBody>
      </p:sp>
      <p:sp>
        <p:nvSpPr>
          <p:cNvPr id="3" name="Vertikaler Textplatzhalter 2"/>
          <p:cNvSpPr>
            <a:spLocks noGrp="1"/>
          </p:cNvSpPr>
          <p:nvPr>
            <p:ph type="body" orient="vert" idx="1"/>
          </p:nvPr>
        </p:nvSpPr>
        <p:spPr>
          <a:xfrm>
            <a:off x="628650" y="365125"/>
            <a:ext cx="5762625" cy="5811838"/>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endParaRPr lang="en-US"/>
          </a:p>
        </p:txBody>
      </p:sp>
      <p:sp>
        <p:nvSpPr>
          <p:cNvPr id="5" name="Fußzeilenplatzhalter 4"/>
          <p:cNvSpPr>
            <a:spLocks noGrp="1"/>
          </p:cNvSpPr>
          <p:nvPr>
            <p:ph type="ftr" sz="quarter" idx="11"/>
          </p:nvPr>
        </p:nvSpPr>
        <p:spPr/>
        <p:txBody>
          <a:bodyPr/>
          <a:lstStyle/>
          <a:p>
            <a:r>
              <a:rPr lang="en-US"/>
              <a:t>04.12.24 Infoabend GE Hiesfeld</a:t>
            </a:r>
          </a:p>
        </p:txBody>
      </p:sp>
      <p:sp>
        <p:nvSpPr>
          <p:cNvPr id="6" name="Foliennummernplatzhalter 5"/>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31497221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4" name="Inhaltsplatzhalter 2"/>
          <p:cNvSpPr>
            <a:spLocks noGrp="1"/>
          </p:cNvSpPr>
          <p:nvPr>
            <p:ph idx="1"/>
          </p:nvPr>
        </p:nvSpPr>
        <p:spPr>
          <a:xfrm>
            <a:off x="395537" y="1520824"/>
            <a:ext cx="8495288" cy="4536000"/>
          </a:xfrm>
        </p:spPr>
        <p:txBody>
          <a:bodyPr/>
          <a:lstStyle>
            <a:lvl1pPr>
              <a:defRPr>
                <a:solidFill>
                  <a:schemeClr val="tx1">
                    <a:lumMod val="50000"/>
                  </a:schemeClr>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Titel 5">
            <a:extLst>
              <a:ext uri="{FF2B5EF4-FFF2-40B4-BE49-F238E27FC236}">
                <a16:creationId xmlns:a16="http://schemas.microsoft.com/office/drawing/2014/main" id="{327C923B-EA81-2E4B-9310-FAD863E098F3}"/>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8538570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k_Überschrift +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76245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200" b="0" i="0" baseline="0" dirty="0" err="1">
              <a:solidFill>
                <a:schemeClr val="tx1"/>
              </a:solidFill>
              <a:latin typeface="TKTypeMedium"/>
              <a:ea typeface="+mj-ea"/>
              <a:cs typeface="+mj-cs"/>
              <a:sym typeface="TKTypeMedium"/>
            </a:endParaRPr>
          </a:p>
        </p:txBody>
      </p:sp>
      <p:sp>
        <p:nvSpPr>
          <p:cNvPr id="2" name="Titel 1"/>
          <p:cNvSpPr>
            <a:spLocks noGrp="1"/>
          </p:cNvSpPr>
          <p:nvPr>
            <p:ph type="title" hasCustomPrompt="1"/>
          </p:nvPr>
        </p:nvSpPr>
        <p:spPr>
          <a:xfrm>
            <a:off x="250825" y="260351"/>
            <a:ext cx="8639999" cy="338554"/>
          </a:xfrm>
        </p:spPr>
        <p:txBody>
          <a:bodyPr/>
          <a:lstStyle>
            <a:lvl1pPr>
              <a:defRPr>
                <a:solidFill>
                  <a:schemeClr val="bg1"/>
                </a:solidFill>
              </a:defRPr>
            </a:lvl1pPr>
          </a:lstStyle>
          <a:p>
            <a:r>
              <a:rPr lang="de-DE" dirty="0"/>
              <a:t>Titel des Unterkapitels</a:t>
            </a:r>
          </a:p>
        </p:txBody>
      </p:sp>
      <p:sp>
        <p:nvSpPr>
          <p:cNvPr id="3" name="Inhaltsplatzhalter 2"/>
          <p:cNvSpPr>
            <a:spLocks noGrp="1"/>
          </p:cNvSpPr>
          <p:nvPr>
            <p:ph idx="1"/>
          </p:nvPr>
        </p:nvSpPr>
        <p:spPr/>
        <p:txBody>
          <a:bodyPr/>
          <a:lstStyle>
            <a:lvl1pPr>
              <a:defRPr>
                <a:solidFill>
                  <a:schemeClr val="tx1">
                    <a:lumMod val="50000"/>
                  </a:schemeClr>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Textplatzhalter 7"/>
          <p:cNvSpPr>
            <a:spLocks noGrp="1"/>
          </p:cNvSpPr>
          <p:nvPr>
            <p:ph type="body" sz="quarter" idx="12" hasCustomPrompt="1"/>
          </p:nvPr>
        </p:nvSpPr>
        <p:spPr>
          <a:xfrm>
            <a:off x="250828" y="6164399"/>
            <a:ext cx="8029573"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a:t>Platzhalter Quellenangabe und Fußnote: Fußnoten nummeriert (keine *)</a:t>
            </a:r>
          </a:p>
        </p:txBody>
      </p:sp>
    </p:spTree>
    <p:extLst>
      <p:ext uri="{BB962C8B-B14F-4D97-AF65-F5344CB8AC3E}">
        <p14:creationId xmlns:p14="http://schemas.microsoft.com/office/powerpoint/2010/main" val="2329118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k_Überschrift + Text + Inhal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79464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200" b="0" i="0" baseline="0" dirty="0" err="1">
              <a:solidFill>
                <a:schemeClr val="tx1"/>
              </a:solidFill>
              <a:latin typeface="TKTypeMedium"/>
              <a:ea typeface="+mj-ea"/>
              <a:cs typeface="+mj-cs"/>
              <a:sym typeface="TKTypeMedium"/>
            </a:endParaRPr>
          </a:p>
        </p:txBody>
      </p:sp>
      <p:sp>
        <p:nvSpPr>
          <p:cNvPr id="3" name="Inhaltsplatzhalter 2"/>
          <p:cNvSpPr>
            <a:spLocks noGrp="1"/>
          </p:cNvSpPr>
          <p:nvPr>
            <p:ph idx="1"/>
          </p:nvPr>
        </p:nvSpPr>
        <p:spPr>
          <a:xfrm>
            <a:off x="4749669" y="1520824"/>
            <a:ext cx="4141155" cy="4536000"/>
          </a:xfr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Textplatzhalter 7"/>
          <p:cNvSpPr>
            <a:spLocks noGrp="1"/>
          </p:cNvSpPr>
          <p:nvPr>
            <p:ph type="body" sz="quarter" idx="12" hasCustomPrompt="1"/>
          </p:nvPr>
        </p:nvSpPr>
        <p:spPr>
          <a:xfrm>
            <a:off x="250828" y="6163803"/>
            <a:ext cx="8029573"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a:t>Platzhalter Quellenangabe und Fußnote: Fußnoten nummeriert (keine *)</a:t>
            </a:r>
          </a:p>
        </p:txBody>
      </p:sp>
      <p:sp>
        <p:nvSpPr>
          <p:cNvPr id="4" name="Titel 3"/>
          <p:cNvSpPr>
            <a:spLocks noGrp="1"/>
          </p:cNvSpPr>
          <p:nvPr>
            <p:ph type="title" hasCustomPrompt="1"/>
          </p:nvPr>
        </p:nvSpPr>
        <p:spPr>
          <a:xfrm>
            <a:off x="250825" y="260351"/>
            <a:ext cx="8639999" cy="338554"/>
          </a:xfrm>
        </p:spPr>
        <p:txBody>
          <a:bodyPr/>
          <a:lstStyle>
            <a:lvl1pPr>
              <a:defRPr>
                <a:solidFill>
                  <a:schemeClr val="bg1"/>
                </a:solidFill>
              </a:defRPr>
            </a:lvl1pPr>
          </a:lstStyle>
          <a:p>
            <a:r>
              <a:rPr lang="de-DE" dirty="0"/>
              <a:t>Titel des Unterkapitels</a:t>
            </a:r>
            <a:endParaRPr lang="en-US" dirty="0"/>
          </a:p>
        </p:txBody>
      </p:sp>
    </p:spTree>
    <p:extLst>
      <p:ext uri="{BB962C8B-B14F-4D97-AF65-F5344CB8AC3E}">
        <p14:creationId xmlns:p14="http://schemas.microsoft.com/office/powerpoint/2010/main" val="75192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k_Überschrif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5533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200" b="0" i="0" baseline="0" dirty="0" err="1">
              <a:solidFill>
                <a:schemeClr val="tx1"/>
              </a:solidFill>
              <a:latin typeface="TKTypeMedium"/>
              <a:ea typeface="+mj-ea"/>
              <a:cs typeface="+mj-cs"/>
              <a:sym typeface="TKTypeMedium"/>
            </a:endParaRPr>
          </a:p>
        </p:txBody>
      </p:sp>
      <p:sp>
        <p:nvSpPr>
          <p:cNvPr id="8" name="Textplatzhalter 7"/>
          <p:cNvSpPr>
            <a:spLocks noGrp="1"/>
          </p:cNvSpPr>
          <p:nvPr>
            <p:ph type="body" sz="quarter" idx="12" hasCustomPrompt="1"/>
          </p:nvPr>
        </p:nvSpPr>
        <p:spPr>
          <a:xfrm>
            <a:off x="250828" y="6164399"/>
            <a:ext cx="8029573" cy="144922"/>
          </a:xfrm>
          <a:noFill/>
          <a:ln w="19050">
            <a:noFill/>
            <a:miter lim="800000"/>
            <a:headEnd/>
            <a:tailEnd/>
          </a:ln>
        </p:spPr>
        <p:txBody>
          <a:bodyPr vert="horz" wrap="square" lIns="0" tIns="0" rIns="0" bIns="0" rtlCol="0" anchor="b">
            <a:noAutofit/>
          </a:bodyPr>
          <a:lstStyle>
            <a:lvl1pPr marL="0" indent="0">
              <a:lnSpc>
                <a:spcPct val="100000"/>
              </a:lnSpc>
              <a:spcBef>
                <a:spcPts val="0"/>
              </a:spcBef>
              <a:spcAft>
                <a:spcPts val="0"/>
              </a:spcAft>
              <a:buClr>
                <a:schemeClr val="tx2"/>
              </a:buClr>
              <a:buNone/>
              <a:defRPr lang="de-DE" sz="800" dirty="0" smtClean="0">
                <a:solidFill>
                  <a:schemeClr val="bg2">
                    <a:lumMod val="75000"/>
                  </a:schemeClr>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a:t>Platzhalter Quellenangabe und Fußnote: Fußnoten nummeriert (keine *)</a:t>
            </a:r>
          </a:p>
        </p:txBody>
      </p:sp>
      <p:sp>
        <p:nvSpPr>
          <p:cNvPr id="3" name="Titel 2"/>
          <p:cNvSpPr>
            <a:spLocks noGrp="1"/>
          </p:cNvSpPr>
          <p:nvPr>
            <p:ph type="title" hasCustomPrompt="1"/>
          </p:nvPr>
        </p:nvSpPr>
        <p:spPr/>
        <p:txBody>
          <a:bodyPr/>
          <a:lstStyle>
            <a:lvl1pPr>
              <a:defRPr>
                <a:solidFill>
                  <a:schemeClr val="bg1"/>
                </a:solidFill>
              </a:defRPr>
            </a:lvl1pPr>
          </a:lstStyle>
          <a:p>
            <a:r>
              <a:rPr lang="de-DE" dirty="0"/>
              <a:t>Titel </a:t>
            </a:r>
            <a:r>
              <a:rPr lang="de-DE" dirty="0" err="1"/>
              <a:t>ds</a:t>
            </a:r>
            <a:r>
              <a:rPr lang="de-DE" dirty="0"/>
              <a:t> Unterkapitels</a:t>
            </a:r>
            <a:endParaRPr lang="en-US" dirty="0"/>
          </a:p>
        </p:txBody>
      </p:sp>
    </p:spTree>
    <p:extLst>
      <p:ext uri="{BB962C8B-B14F-4D97-AF65-F5344CB8AC3E}">
        <p14:creationId xmlns:p14="http://schemas.microsoft.com/office/powerpoint/2010/main" val="913759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7" name="Trapezoid 6"/>
          <p:cNvSpPr/>
          <p:nvPr userDrawn="1"/>
        </p:nvSpPr>
        <p:spPr>
          <a:xfrm>
            <a:off x="0" y="0"/>
            <a:ext cx="9144000" cy="322374"/>
          </a:xfrm>
          <a:prstGeom prst="trapezoid">
            <a:avLst>
              <a:gd name="adj" fmla="val 0"/>
            </a:avLst>
          </a:prstGeom>
          <a:solidFill>
            <a:srgbClr val="558ED5"/>
          </a:solidFill>
          <a:ln w="28575">
            <a:solidFill>
              <a:srgbClr val="558ED5"/>
            </a:solidFill>
          </a:ln>
          <a:effectLst>
            <a:outerShdw blurRad="50800" dist="38100" dir="5400000" algn="t"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8" name="Trapezoid 7"/>
          <p:cNvSpPr/>
          <p:nvPr userDrawn="1"/>
        </p:nvSpPr>
        <p:spPr>
          <a:xfrm rot="10800000">
            <a:off x="4932040" y="-11992"/>
            <a:ext cx="4261266" cy="776696"/>
          </a:xfrm>
          <a:prstGeom prst="trapezoid">
            <a:avLst>
              <a:gd name="adj" fmla="val 0"/>
            </a:avLst>
          </a:prstGeom>
          <a:solidFill>
            <a:srgbClr val="92D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descr="Logo-Gesamtschule-Slogan-RGB.jpg"/>
          <p:cNvPicPr>
            <a:picLocks noChangeAspect="1"/>
          </p:cNvPicPr>
          <p:nvPr userDrawn="1"/>
        </p:nvPicPr>
        <p:blipFill>
          <a:blip r:embed="rId2" cstate="print"/>
          <a:stretch>
            <a:fillRect/>
          </a:stretch>
        </p:blipFill>
        <p:spPr>
          <a:xfrm>
            <a:off x="323528" y="1196752"/>
            <a:ext cx="8334209" cy="1944216"/>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419421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idx="1"/>
          </p:nvPr>
        </p:nvSpPr>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p:ph type="dt" sz="half" idx="10"/>
          </p:nvPr>
        </p:nvSpPr>
        <p:spPr/>
        <p:txBody>
          <a:bodyPr/>
          <a:lstStyle>
            <a:lvl1pPr>
              <a:defRPr/>
            </a:lvl1pPr>
          </a:lstStyle>
          <a:p>
            <a:endParaRPr lang="en-US" dirty="0"/>
          </a:p>
        </p:txBody>
      </p:sp>
      <p:sp>
        <p:nvSpPr>
          <p:cNvPr id="5" name="Fußzeilenplatzhalter 4"/>
          <p:cNvSpPr>
            <a:spLocks noGrp="1"/>
          </p:cNvSpPr>
          <p:nvPr>
            <p:ph type="ftr" sz="quarter" idx="11"/>
          </p:nvPr>
        </p:nvSpPr>
        <p:spPr/>
        <p:txBody>
          <a:bodyPr/>
          <a:lstStyle/>
          <a:p>
            <a:r>
              <a:rPr lang="en-US"/>
              <a:t>04.12.24 Infoabend GE Hiesfeld</a:t>
            </a:r>
          </a:p>
        </p:txBody>
      </p:sp>
      <p:sp>
        <p:nvSpPr>
          <p:cNvPr id="6" name="Foliennummernplatzhalter 5"/>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635088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3888" y="1709738"/>
            <a:ext cx="7886700" cy="2852737"/>
          </a:xfrm>
        </p:spPr>
        <p:txBody>
          <a:bodyPr anchor="b"/>
          <a:lstStyle>
            <a:lvl1pPr>
              <a:defRPr sz="6000"/>
            </a:lvl1pPr>
          </a:lstStyle>
          <a:p>
            <a:r>
              <a:rPr lang="de-DE"/>
              <a:t>Titelmasterformat durch Klicken bearbeiten</a:t>
            </a:r>
            <a:endParaRPr lang="en-US"/>
          </a:p>
        </p:txBody>
      </p:sp>
      <p:sp>
        <p:nvSpPr>
          <p:cNvPr id="3" name="Textplatzhalt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endParaRPr lang="en-US"/>
          </a:p>
        </p:txBody>
      </p:sp>
      <p:sp>
        <p:nvSpPr>
          <p:cNvPr id="5" name="Fußzeilenplatzhalter 4"/>
          <p:cNvSpPr>
            <a:spLocks noGrp="1"/>
          </p:cNvSpPr>
          <p:nvPr>
            <p:ph type="ftr" sz="quarter" idx="11"/>
          </p:nvPr>
        </p:nvSpPr>
        <p:spPr/>
        <p:txBody>
          <a:bodyPr/>
          <a:lstStyle/>
          <a:p>
            <a:r>
              <a:rPr lang="en-US"/>
              <a:t>04.12.24 Infoabend GE Hiesfeld</a:t>
            </a:r>
          </a:p>
        </p:txBody>
      </p:sp>
      <p:sp>
        <p:nvSpPr>
          <p:cNvPr id="6" name="Foliennummernplatzhalter 5"/>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396220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628650" y="1825625"/>
            <a:ext cx="386715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p:cNvSpPr>
            <a:spLocks noGrp="1"/>
          </p:cNvSpPr>
          <p:nvPr>
            <p:ph sz="half" idx="2"/>
          </p:nvPr>
        </p:nvSpPr>
        <p:spPr>
          <a:xfrm>
            <a:off x="4648200" y="1825625"/>
            <a:ext cx="386715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p:cNvSpPr>
            <a:spLocks noGrp="1"/>
          </p:cNvSpPr>
          <p:nvPr>
            <p:ph type="dt" sz="half" idx="10"/>
          </p:nvPr>
        </p:nvSpPr>
        <p:spPr/>
        <p:txBody>
          <a:bodyPr/>
          <a:lstStyle/>
          <a:p>
            <a:endParaRPr lang="en-US"/>
          </a:p>
        </p:txBody>
      </p:sp>
      <p:sp>
        <p:nvSpPr>
          <p:cNvPr id="6" name="Fußzeilenplatzhalter 5"/>
          <p:cNvSpPr>
            <a:spLocks noGrp="1"/>
          </p:cNvSpPr>
          <p:nvPr>
            <p:ph type="ftr" sz="quarter" idx="11"/>
          </p:nvPr>
        </p:nvSpPr>
        <p:spPr/>
        <p:txBody>
          <a:bodyPr/>
          <a:lstStyle/>
          <a:p>
            <a:r>
              <a:rPr lang="en-US"/>
              <a:t>04.12.24 Infoabend GE Hiesfeld</a:t>
            </a:r>
          </a:p>
        </p:txBody>
      </p:sp>
      <p:sp>
        <p:nvSpPr>
          <p:cNvPr id="7" name="Foliennummernplatzhalter 6"/>
          <p:cNvSpPr>
            <a:spLocks noGrp="1"/>
          </p:cNvSpPr>
          <p:nvPr>
            <p:ph type="sldNum" sz="quarter" idx="12"/>
          </p:nvPr>
        </p:nvSpPr>
        <p:spPr/>
        <p:txBody>
          <a:bodyPr/>
          <a:lstStyle/>
          <a:p>
            <a:fld id="{8228DFA4-75AE-435D-A7C6-A7F461990818}" type="slidenum">
              <a:rPr lang="en-US" smtClean="0"/>
              <a:t>‹Nr.›</a:t>
            </a:fld>
            <a:endParaRPr lang="en-US"/>
          </a:p>
        </p:txBody>
      </p:sp>
    </p:spTree>
    <p:extLst>
      <p:ext uri="{BB962C8B-B14F-4D97-AF65-F5344CB8AC3E}">
        <p14:creationId xmlns:p14="http://schemas.microsoft.com/office/powerpoint/2010/main" val="2286116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8"/>
            </p:custDataLst>
            <p:extLst>
              <p:ext uri="{D42A27DB-BD31-4B8C-83A1-F6EECF244321}">
                <p14:modId xmlns:p14="http://schemas.microsoft.com/office/powerpoint/2010/main" val="774796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Folie" r:id="rId10" imgW="344" imgH="344" progId="TCLayout.ActiveDocument.1">
                  <p:embed/>
                </p:oleObj>
              </mc:Choice>
              <mc:Fallback>
                <p:oleObj name="think-cell Folie" r:id="rId10" imgW="344" imgH="344" progId="TCLayout.ActiveDocument.1">
                  <p:embed/>
                  <p:pic>
                    <p:nvPicPr>
                      <p:cNvPr id="9" name="Objekt 8"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hteck 3" hidden="1"/>
          <p:cNvSpPr/>
          <p:nvPr userDrawn="1">
            <p:custDataLst>
              <p:tags r:id="rId9"/>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200" b="0" i="0" baseline="0" dirty="0" err="1">
              <a:solidFill>
                <a:schemeClr val="tx1"/>
              </a:solidFill>
              <a:latin typeface="TKTypeMedium"/>
              <a:ea typeface="+mj-ea"/>
              <a:cs typeface="+mj-cs"/>
              <a:sym typeface="TKTypeMedium"/>
            </a:endParaRPr>
          </a:p>
        </p:txBody>
      </p:sp>
      <p:sp>
        <p:nvSpPr>
          <p:cNvPr id="2" name="Titelplatzhalter 1"/>
          <p:cNvSpPr>
            <a:spLocks noGrp="1"/>
          </p:cNvSpPr>
          <p:nvPr>
            <p:ph type="title"/>
          </p:nvPr>
        </p:nvSpPr>
        <p:spPr>
          <a:xfrm>
            <a:off x="234948" y="941271"/>
            <a:ext cx="8639999" cy="338554"/>
          </a:xfrm>
          <a:prstGeom prst="rect">
            <a:avLst/>
          </a:prstGeom>
        </p:spPr>
        <p:txBody>
          <a:bodyPr vert="horz" lIns="0" tIns="0" rIns="0" bIns="0" rtlCol="0" anchor="t">
            <a:spAutoFit/>
          </a:bodyPr>
          <a:lstStyle/>
          <a:p>
            <a:r>
              <a:rPr lang="de-DE" dirty="0"/>
              <a:t>Kapitel</a:t>
            </a:r>
          </a:p>
        </p:txBody>
      </p:sp>
      <p:sp>
        <p:nvSpPr>
          <p:cNvPr id="3" name="Textplatzhalter 2"/>
          <p:cNvSpPr>
            <a:spLocks noGrp="1"/>
          </p:cNvSpPr>
          <p:nvPr>
            <p:ph type="body" idx="1"/>
          </p:nvPr>
        </p:nvSpPr>
        <p:spPr>
          <a:xfrm>
            <a:off x="250825" y="1520824"/>
            <a:ext cx="8639999" cy="4536467"/>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Rechteck 6"/>
          <p:cNvSpPr>
            <a:spLocks/>
          </p:cNvSpPr>
          <p:nvPr userDrawn="1"/>
        </p:nvSpPr>
        <p:spPr>
          <a:xfrm>
            <a:off x="250825" y="6541362"/>
            <a:ext cx="252000" cy="110800"/>
          </a:xfrm>
          <a:prstGeom prst="rect">
            <a:avLst/>
          </a:prstGeom>
          <a:noFill/>
        </p:spPr>
        <p:txBody>
          <a:bodyPr wrap="none" lIns="0" tIns="0" rIns="0" bIns="0" rtlCol="0" anchor="b" anchorCtr="0">
            <a:noAutofit/>
          </a:bodyPr>
          <a:lstStyle/>
          <a:p>
            <a:pPr>
              <a:lnSpc>
                <a:spcPct val="90000"/>
              </a:lnSpc>
            </a:pPr>
            <a:fld id="{51379A8F-A524-446C-A510-DD71E05777CE}" type="slidenum">
              <a:rPr lang="de-DE" sz="800" smtClean="0">
                <a:solidFill>
                  <a:schemeClr val="bg2">
                    <a:lumMod val="75000"/>
                  </a:schemeClr>
                </a:solidFill>
              </a:rPr>
              <a:t>‹Nr.›</a:t>
            </a:fld>
            <a:endParaRPr lang="de-DE" sz="800" dirty="0">
              <a:solidFill>
                <a:schemeClr val="bg2">
                  <a:lumMod val="75000"/>
                </a:schemeClr>
              </a:solidFill>
            </a:endParaRPr>
          </a:p>
        </p:txBody>
      </p:sp>
      <p:sp>
        <p:nvSpPr>
          <p:cNvPr id="11" name="Rechteck 10"/>
          <p:cNvSpPr>
            <a:spLocks/>
          </p:cNvSpPr>
          <p:nvPr userDrawn="1"/>
        </p:nvSpPr>
        <p:spPr>
          <a:xfrm>
            <a:off x="466861" y="6541362"/>
            <a:ext cx="7813539" cy="110800"/>
          </a:xfrm>
          <a:prstGeom prst="rect">
            <a:avLst/>
          </a:prstGeom>
          <a:noFill/>
        </p:spPr>
        <p:txBody>
          <a:bodyPr wrap="none" lIns="0" tIns="0" rIns="0" bIns="0" rtlCol="0" anchor="b" anchorCtr="0">
            <a:noAutofit/>
          </a:bodyPr>
          <a:lstStyle/>
          <a:p>
            <a:pPr>
              <a:lnSpc>
                <a:spcPct val="90000"/>
              </a:lnSpc>
            </a:pPr>
            <a:r>
              <a:rPr lang="de-DE" sz="800" dirty="0">
                <a:solidFill>
                  <a:schemeClr val="tx2">
                    <a:lumMod val="75000"/>
                  </a:schemeClr>
                </a:solidFill>
              </a:rPr>
              <a:t>|  04.12.2025 | Infoabend</a:t>
            </a:r>
            <a:r>
              <a:rPr lang="de-DE" sz="800" baseline="0" dirty="0">
                <a:solidFill>
                  <a:schemeClr val="tx2">
                    <a:lumMod val="75000"/>
                  </a:schemeClr>
                </a:solidFill>
              </a:rPr>
              <a:t> GE Hiesfeld</a:t>
            </a:r>
            <a:endParaRPr lang="de-DE" sz="800" dirty="0">
              <a:solidFill>
                <a:schemeClr val="tx2">
                  <a:lumMod val="75000"/>
                </a:schemeClr>
              </a:solidFill>
            </a:endParaRPr>
          </a:p>
        </p:txBody>
      </p:sp>
      <p:sp>
        <p:nvSpPr>
          <p:cNvPr id="5" name="Rectangle 275"/>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12" name="Trapezoid 11"/>
          <p:cNvSpPr/>
          <p:nvPr userDrawn="1"/>
        </p:nvSpPr>
        <p:spPr>
          <a:xfrm>
            <a:off x="0" y="0"/>
            <a:ext cx="9144000" cy="322374"/>
          </a:xfrm>
          <a:prstGeom prst="trapezoid">
            <a:avLst>
              <a:gd name="adj" fmla="val 0"/>
            </a:avLst>
          </a:prstGeom>
          <a:solidFill>
            <a:srgbClr val="558ED5"/>
          </a:solidFill>
          <a:ln w="28575">
            <a:solidFill>
              <a:srgbClr val="558ED5"/>
            </a:solidFill>
          </a:ln>
          <a:effectLst>
            <a:outerShdw blurRad="50800" dist="38100" dir="5400000" algn="t"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13" name="Trapezoid 12"/>
          <p:cNvSpPr/>
          <p:nvPr userDrawn="1"/>
        </p:nvSpPr>
        <p:spPr>
          <a:xfrm rot="10800000">
            <a:off x="5195851" y="-11992"/>
            <a:ext cx="3997455" cy="754160"/>
          </a:xfrm>
          <a:prstGeom prst="trapezoid">
            <a:avLst>
              <a:gd name="adj" fmla="val 0"/>
            </a:avLst>
          </a:prstGeom>
          <a:solidFill>
            <a:srgbClr val="92D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Logo-Gesamtschule-Slogan-RGB.jpg"/>
          <p:cNvPicPr>
            <a:picLocks noChangeAspect="1"/>
          </p:cNvPicPr>
          <p:nvPr userDrawn="1"/>
        </p:nvPicPr>
        <p:blipFill>
          <a:blip r:embed="rId12" cstate="print"/>
          <a:stretch>
            <a:fillRect/>
          </a:stretch>
        </p:blipFill>
        <p:spPr>
          <a:xfrm>
            <a:off x="5786784" y="46042"/>
            <a:ext cx="2735293" cy="638093"/>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010166732"/>
      </p:ext>
    </p:extLst>
  </p:cSld>
  <p:clrMap bg1="lt1" tx1="dk1" bg2="lt2" tx2="dk2" accent1="accent1" accent2="accent2" accent3="accent3" accent4="accent4" accent5="accent5" accent6="accent6" hlink="hlink" folHlink="folHlink"/>
  <p:sldLayoutIdLst>
    <p:sldLayoutId id="2147483662" r:id="rId1"/>
    <p:sldLayoutId id="2147483668" r:id="rId2"/>
    <p:sldLayoutId id="2147483665" r:id="rId3"/>
    <p:sldLayoutId id="2147483666" r:id="rId4"/>
    <p:sldLayoutId id="2147483667" r:id="rId5"/>
  </p:sldLayoutIdLst>
  <p:hf sldNum="0" hdr="0" dt="0"/>
  <p:txStyles>
    <p:titleStyle>
      <a:lvl1pPr algn="l" defTabSz="914400" rtl="0" eaLnBrk="1" latinLnBrk="0" hangingPunct="1">
        <a:spcBef>
          <a:spcPct val="0"/>
        </a:spcBef>
        <a:buNone/>
        <a:defRPr sz="2200" kern="1200">
          <a:solidFill>
            <a:srgbClr val="558ED5"/>
          </a:solidFill>
          <a:latin typeface="+mn-lt"/>
          <a:ea typeface="+mj-ea"/>
          <a:cs typeface="+mj-cs"/>
        </a:defRPr>
      </a:lvl1pPr>
    </p:titleStyle>
    <p:bodyStyle>
      <a:lvl1pPr marL="180000" indent="-180000" algn="l" defTabSz="914400" rtl="0" eaLnBrk="1" latinLnBrk="0" hangingPunct="1">
        <a:spcBef>
          <a:spcPts val="1200"/>
        </a:spcBef>
        <a:spcAft>
          <a:spcPts val="0"/>
        </a:spcAft>
        <a:buClr>
          <a:schemeClr val="accent2"/>
        </a:buClr>
        <a:buFont typeface="Arial" panose="020B0604020202020204" pitchFamily="34" charset="0"/>
        <a:buChar char="•"/>
        <a:defRPr sz="1600" kern="1200">
          <a:solidFill>
            <a:schemeClr val="tx1">
              <a:lumMod val="50000"/>
            </a:schemeClr>
          </a:solidFill>
          <a:latin typeface="+mn-lt"/>
          <a:ea typeface="+mn-ea"/>
          <a:cs typeface="+mn-cs"/>
        </a:defRPr>
      </a:lvl1pPr>
      <a:lvl2pPr marL="3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50000"/>
            </a:schemeClr>
          </a:solidFill>
          <a:latin typeface="+mn-lt"/>
          <a:ea typeface="+mn-ea"/>
          <a:cs typeface="+mn-cs"/>
        </a:defRPr>
      </a:lvl2pPr>
      <a:lvl3pPr marL="54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50000"/>
            </a:schemeClr>
          </a:solidFill>
          <a:latin typeface="+mn-lt"/>
          <a:ea typeface="+mn-ea"/>
          <a:cs typeface="+mn-cs"/>
        </a:defRPr>
      </a:lvl3pPr>
      <a:lvl4pPr marL="7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50000"/>
            </a:schemeClr>
          </a:solidFill>
          <a:latin typeface="+mn-lt"/>
          <a:ea typeface="+mn-ea"/>
          <a:cs typeface="+mn-cs"/>
        </a:defRPr>
      </a:lvl4pPr>
      <a:lvl5pPr marL="898525"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50000"/>
            </a:schemeClr>
          </a:solidFill>
          <a:latin typeface="+mn-lt"/>
          <a:ea typeface="+mn-ea"/>
          <a:cs typeface="+mn-cs"/>
        </a:defRPr>
      </a:lvl5pPr>
      <a:lvl6pPr marL="10795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50000"/>
            </a:schemeClr>
          </a:solidFill>
          <a:latin typeface="+mn-lt"/>
          <a:ea typeface="+mn-ea"/>
          <a:cs typeface="+mn-cs"/>
        </a:defRPr>
      </a:lvl6pPr>
      <a:lvl7pPr marL="12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50000"/>
            </a:schemeClr>
          </a:solidFill>
          <a:latin typeface="+mn-lt"/>
          <a:ea typeface="+mn-ea"/>
          <a:cs typeface="+mn-cs"/>
        </a:defRPr>
      </a:lvl7pPr>
      <a:lvl8pPr marL="144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50000"/>
            </a:schemeClr>
          </a:solidFill>
          <a:latin typeface="+mn-lt"/>
          <a:ea typeface="+mn-ea"/>
          <a:cs typeface="+mn-cs"/>
        </a:defRPr>
      </a:lvl8pPr>
      <a:lvl9pPr marL="16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50000"/>
            </a:schemeClr>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de-DE"/>
              <a:t>Titelmasterformat durch Klicken bearbeiten</a:t>
            </a:r>
            <a:endParaRPr lang="en-US"/>
          </a:p>
        </p:txBody>
      </p:sp>
      <p:sp>
        <p:nvSpPr>
          <p:cNvPr id="3" name="Textplatzhalt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ußzeilenplatzhalt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04.12.25 </a:t>
            </a:r>
            <a:r>
              <a:rPr lang="en-US" dirty="0" err="1"/>
              <a:t>Infoabend</a:t>
            </a:r>
            <a:r>
              <a:rPr lang="en-US" dirty="0"/>
              <a:t> GE </a:t>
            </a:r>
            <a:r>
              <a:rPr lang="en-US" dirty="0" err="1"/>
              <a:t>Hiesfeld</a:t>
            </a:r>
            <a:endParaRPr lang="en-US" dirty="0"/>
          </a:p>
        </p:txBody>
      </p:sp>
      <p:sp>
        <p:nvSpPr>
          <p:cNvPr id="6" name="Foliennummernplatzhalt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28DFA4-75AE-435D-A7C6-A7F461990818}" type="slidenum">
              <a:rPr lang="en-US" smtClean="0"/>
              <a:t>‹Nr.›</a:t>
            </a:fld>
            <a:endParaRPr lang="en-US"/>
          </a:p>
        </p:txBody>
      </p:sp>
    </p:spTree>
    <p:extLst>
      <p:ext uri="{BB962C8B-B14F-4D97-AF65-F5344CB8AC3E}">
        <p14:creationId xmlns:p14="http://schemas.microsoft.com/office/powerpoint/2010/main" val="2386009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tags" Target="../tags/tag21.xml"/><Relationship Id="rId7" Type="http://schemas.openxmlformats.org/officeDocument/2006/relationships/image" Target="../media/image3.emf"/><Relationship Id="rId12" Type="http://schemas.microsoft.com/office/2007/relationships/diagramDrawing" Target="../diagrams/drawing3.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7.bin"/><Relationship Id="rId11" Type="http://schemas.openxmlformats.org/officeDocument/2006/relationships/diagramColors" Target="../diagrams/colors3.xml"/><Relationship Id="rId5" Type="http://schemas.openxmlformats.org/officeDocument/2006/relationships/notesSlide" Target="../notesSlides/notesSlide9.xml"/><Relationship Id="rId10" Type="http://schemas.openxmlformats.org/officeDocument/2006/relationships/diagramQuickStyle" Target="../diagrams/quickStyle3.xml"/><Relationship Id="rId4" Type="http://schemas.openxmlformats.org/officeDocument/2006/relationships/slideLayout" Target="../slideLayouts/slideLayout2.xml"/><Relationship Id="rId9"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2.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3.xml"/><Relationship Id="rId7" Type="http://schemas.openxmlformats.org/officeDocument/2006/relationships/image" Target="../media/image23.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3.xml"/><Relationship Id="rId9"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slideLayout" Target="../slideLayouts/slideLayout3.xml"/><Relationship Id="rId7" Type="http://schemas.openxmlformats.org/officeDocument/2006/relationships/image" Target="../media/image26.jpg"/><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notesSlide" Target="../notesSlides/notesSlide16.xml"/><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slideLayout" Target="../slideLayouts/slideLayout3.xml"/><Relationship Id="rId5" Type="http://schemas.openxmlformats.org/officeDocument/2006/relationships/video" Target="../media/media1.mp4"/><Relationship Id="rId10" Type="http://schemas.openxmlformats.org/officeDocument/2006/relationships/image" Target="../media/image28.png"/><Relationship Id="rId4" Type="http://schemas.microsoft.com/office/2007/relationships/media" Target="../media/media1.mp4"/><Relationship Id="rId9" Type="http://schemas.openxmlformats.org/officeDocument/2006/relationships/image" Target="../media/image3.emf"/></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oleObject" Target="../embeddings/oleObject7.bin"/><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34.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oleObject" Target="../embeddings/oleObject7.bin"/><Relationship Id="rId5" Type="http://schemas.openxmlformats.org/officeDocument/2006/relationships/notesSlide" Target="../notesSlides/notesSlide18.xml"/><Relationship Id="rId4"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oleObject" Target="../embeddings/oleObject7.bin"/><Relationship Id="rId5" Type="http://schemas.openxmlformats.org/officeDocument/2006/relationships/notesSlide" Target="../notesSlides/notesSlide19.xml"/><Relationship Id="rId4"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33.jpeg"/></Relationships>
</file>

<file path=ppt/slides/_rels/slide23.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37.jpeg"/><Relationship Id="rId3" Type="http://schemas.openxmlformats.org/officeDocument/2006/relationships/tags" Target="../tags/tag38.xml"/><Relationship Id="rId7" Type="http://schemas.openxmlformats.org/officeDocument/2006/relationships/image" Target="../media/image3.emf"/><Relationship Id="rId12" Type="http://schemas.microsoft.com/office/2007/relationships/diagramDrawing" Target="../diagrams/drawing4.xml"/><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7.bin"/><Relationship Id="rId11" Type="http://schemas.openxmlformats.org/officeDocument/2006/relationships/diagramColors" Target="../diagrams/colors4.xml"/><Relationship Id="rId5" Type="http://schemas.openxmlformats.org/officeDocument/2006/relationships/notesSlide" Target="../notesSlides/notesSlide21.xml"/><Relationship Id="rId10" Type="http://schemas.openxmlformats.org/officeDocument/2006/relationships/diagramQuickStyle" Target="../diagrams/quickStyle4.xml"/><Relationship Id="rId4" Type="http://schemas.openxmlformats.org/officeDocument/2006/relationships/slideLayout" Target="../slideLayouts/slideLayout4.xml"/><Relationship Id="rId9" Type="http://schemas.openxmlformats.org/officeDocument/2006/relationships/diagramLayout" Target="../diagrams/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22.xml"/><Relationship Id="rId7" Type="http://schemas.openxmlformats.org/officeDocument/2006/relationships/image" Target="../media/image42.jpg"/><Relationship Id="rId2" Type="http://schemas.openxmlformats.org/officeDocument/2006/relationships/slideLayout" Target="../slideLayouts/slideLayout1.xml"/><Relationship Id="rId1" Type="http://schemas.openxmlformats.org/officeDocument/2006/relationships/vmlDrawing" Target="../drawings/vmlDrawing22.vml"/><Relationship Id="rId6" Type="http://schemas.openxmlformats.org/officeDocument/2006/relationships/image" Target="../media/image41.jpeg"/><Relationship Id="rId11" Type="http://schemas.openxmlformats.org/officeDocument/2006/relationships/image" Target="../media/image44.png"/><Relationship Id="rId5" Type="http://schemas.openxmlformats.org/officeDocument/2006/relationships/image" Target="../media/image40.jpeg"/><Relationship Id="rId10" Type="http://schemas.openxmlformats.org/officeDocument/2006/relationships/image" Target="../media/image38.emf"/><Relationship Id="rId4" Type="http://schemas.openxmlformats.org/officeDocument/2006/relationships/image" Target="../media/image39.png"/><Relationship Id="rId9" Type="http://schemas.openxmlformats.org/officeDocument/2006/relationships/oleObject" Target="../embeddings/oleObject9.bin"/></Relationships>
</file>

<file path=ppt/slides/_rels/slide2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47.jpeg"/><Relationship Id="rId4" Type="http://schemas.openxmlformats.org/officeDocument/2006/relationships/image" Target="../media/image46.jpeg"/></Relationships>
</file>

<file path=ppt/slides/_rels/slide26.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oleObject" Target="../embeddings/oleObject7.bin"/><Relationship Id="rId11" Type="http://schemas.openxmlformats.org/officeDocument/2006/relationships/image" Target="../media/image51.png"/><Relationship Id="rId5" Type="http://schemas.openxmlformats.org/officeDocument/2006/relationships/notesSlide" Target="../notesSlides/notesSlide24.xml"/><Relationship Id="rId10" Type="http://schemas.openxmlformats.org/officeDocument/2006/relationships/image" Target="../media/image50.jpeg"/><Relationship Id="rId4" Type="http://schemas.openxmlformats.org/officeDocument/2006/relationships/slideLayout" Target="../slideLayouts/slideLayout3.xml"/><Relationship Id="rId9" Type="http://schemas.openxmlformats.org/officeDocument/2006/relationships/image" Target="../media/image49.jpeg"/></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tags" Target="../tags/tag42.xml"/><Relationship Id="rId7" Type="http://schemas.openxmlformats.org/officeDocument/2006/relationships/image" Target="../media/image3.emf"/><Relationship Id="rId12" Type="http://schemas.microsoft.com/office/2007/relationships/diagramDrawing" Target="../diagrams/drawing5.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oleObject" Target="../embeddings/oleObject7.bin"/><Relationship Id="rId11" Type="http://schemas.openxmlformats.org/officeDocument/2006/relationships/diagramColors" Target="../diagrams/colors5.xml"/><Relationship Id="rId5" Type="http://schemas.openxmlformats.org/officeDocument/2006/relationships/notesSlide" Target="../notesSlides/notesSlide25.xml"/><Relationship Id="rId10" Type="http://schemas.openxmlformats.org/officeDocument/2006/relationships/diagramQuickStyle" Target="../diagrams/quickStyle5.xml"/><Relationship Id="rId4" Type="http://schemas.openxmlformats.org/officeDocument/2006/relationships/slideLayout" Target="../slideLayouts/slideLayout4.xml"/><Relationship Id="rId9" Type="http://schemas.openxmlformats.org/officeDocument/2006/relationships/diagramLayout" Target="../diagrams/layout5.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image" Target="../media/image52.jpeg"/><Relationship Id="rId3" Type="http://schemas.openxmlformats.org/officeDocument/2006/relationships/tags" Target="../tags/tag44.xml"/><Relationship Id="rId7" Type="http://schemas.openxmlformats.org/officeDocument/2006/relationships/image" Target="../media/image3.emf"/><Relationship Id="rId12" Type="http://schemas.microsoft.com/office/2007/relationships/diagramDrawing" Target="../diagrams/drawing6.xml"/><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oleObject" Target="../embeddings/oleObject7.bin"/><Relationship Id="rId11" Type="http://schemas.openxmlformats.org/officeDocument/2006/relationships/diagramColors" Target="../diagrams/colors6.xml"/><Relationship Id="rId5" Type="http://schemas.openxmlformats.org/officeDocument/2006/relationships/notesSlide" Target="../notesSlides/notesSlide26.xml"/><Relationship Id="rId10" Type="http://schemas.openxmlformats.org/officeDocument/2006/relationships/diagramQuickStyle" Target="../diagrams/quickStyle6.xml"/><Relationship Id="rId4" Type="http://schemas.openxmlformats.org/officeDocument/2006/relationships/slideLayout" Target="../slideLayouts/slideLayout3.xml"/><Relationship Id="rId9" Type="http://schemas.openxmlformats.org/officeDocument/2006/relationships/diagramLayout" Target="../diagrams/layout6.xml"/><Relationship Id="rId14" Type="http://schemas.openxmlformats.org/officeDocument/2006/relationships/image" Target="../media/image53.png"/></Relationships>
</file>

<file path=ppt/slides/_rels/slide29.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image" Target="../media/image54.png"/><Relationship Id="rId3" Type="http://schemas.openxmlformats.org/officeDocument/2006/relationships/tags" Target="../tags/tag46.xml"/><Relationship Id="rId7" Type="http://schemas.openxmlformats.org/officeDocument/2006/relationships/image" Target="../media/image3.emf"/><Relationship Id="rId12" Type="http://schemas.microsoft.com/office/2007/relationships/diagramDrawing" Target="../diagrams/drawing7.xml"/><Relationship Id="rId2" Type="http://schemas.openxmlformats.org/officeDocument/2006/relationships/tags" Target="../tags/tag45.xml"/><Relationship Id="rId1" Type="http://schemas.openxmlformats.org/officeDocument/2006/relationships/vmlDrawing" Target="../drawings/vmlDrawing26.vml"/><Relationship Id="rId6" Type="http://schemas.openxmlformats.org/officeDocument/2006/relationships/oleObject" Target="../embeddings/oleObject7.bin"/><Relationship Id="rId11" Type="http://schemas.openxmlformats.org/officeDocument/2006/relationships/diagramColors" Target="../diagrams/colors7.xml"/><Relationship Id="rId5" Type="http://schemas.openxmlformats.org/officeDocument/2006/relationships/notesSlide" Target="../notesSlides/notesSlide27.xml"/><Relationship Id="rId10" Type="http://schemas.openxmlformats.org/officeDocument/2006/relationships/diagramQuickStyle" Target="../diagrams/quickStyle7.xml"/><Relationship Id="rId4" Type="http://schemas.openxmlformats.org/officeDocument/2006/relationships/slideLayout" Target="../slideLayouts/slideLayout3.xml"/><Relationship Id="rId9" Type="http://schemas.openxmlformats.org/officeDocument/2006/relationships/diagramLayout" Target="../diagrams/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png"/><Relationship Id="rId1" Type="http://schemas.openxmlformats.org/officeDocument/2006/relationships/slideLayout" Target="../slideLayouts/slideLayout4.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png"/></Relationships>
</file>

<file path=ppt/slides/_rels/slide32.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67.png"/><Relationship Id="rId18" Type="http://schemas.openxmlformats.org/officeDocument/2006/relationships/image" Target="../media/image72.jpg"/><Relationship Id="rId3" Type="http://schemas.openxmlformats.org/officeDocument/2006/relationships/tags" Target="../tags/tag48.xml"/><Relationship Id="rId7" Type="http://schemas.openxmlformats.org/officeDocument/2006/relationships/oleObject" Target="../embeddings/oleObject7.bin"/><Relationship Id="rId12" Type="http://schemas.openxmlformats.org/officeDocument/2006/relationships/image" Target="../media/image66.jpeg"/><Relationship Id="rId17" Type="http://schemas.openxmlformats.org/officeDocument/2006/relationships/image" Target="../media/image71.png"/><Relationship Id="rId2" Type="http://schemas.openxmlformats.org/officeDocument/2006/relationships/tags" Target="../tags/tag47.xml"/><Relationship Id="rId16" Type="http://schemas.openxmlformats.org/officeDocument/2006/relationships/image" Target="../media/image70.png"/><Relationship Id="rId20" Type="http://schemas.openxmlformats.org/officeDocument/2006/relationships/image" Target="../media/image74.png"/><Relationship Id="rId1" Type="http://schemas.openxmlformats.org/officeDocument/2006/relationships/vmlDrawing" Target="../drawings/vmlDrawing27.vml"/><Relationship Id="rId6" Type="http://schemas.openxmlformats.org/officeDocument/2006/relationships/image" Target="../media/image62.jpeg"/><Relationship Id="rId11" Type="http://schemas.openxmlformats.org/officeDocument/2006/relationships/image" Target="../media/image65.jpeg"/><Relationship Id="rId5" Type="http://schemas.openxmlformats.org/officeDocument/2006/relationships/notesSlide" Target="../notesSlides/notesSlide29.xml"/><Relationship Id="rId15" Type="http://schemas.openxmlformats.org/officeDocument/2006/relationships/image" Target="../media/image69.png"/><Relationship Id="rId10" Type="http://schemas.openxmlformats.org/officeDocument/2006/relationships/image" Target="../media/image64.png"/><Relationship Id="rId19" Type="http://schemas.openxmlformats.org/officeDocument/2006/relationships/image" Target="../media/image73.jpeg"/><Relationship Id="rId4" Type="http://schemas.openxmlformats.org/officeDocument/2006/relationships/slideLayout" Target="../slideLayouts/slideLayout3.xml"/><Relationship Id="rId9" Type="http://schemas.openxmlformats.org/officeDocument/2006/relationships/image" Target="../media/image63.png"/><Relationship Id="rId14" Type="http://schemas.openxmlformats.org/officeDocument/2006/relationships/image" Target="../media/image68.png"/></Relationships>
</file>

<file path=ppt/slides/_rels/slide3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66.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oleObject" Target="../embeddings/oleObject7.bin"/><Relationship Id="rId5" Type="http://schemas.openxmlformats.org/officeDocument/2006/relationships/notesSlide" Target="../notesSlides/notesSlide30.xml"/><Relationship Id="rId4"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5.xml"/><Relationship Id="rId7" Type="http://schemas.openxmlformats.org/officeDocument/2006/relationships/image" Target="../media/image3.emf"/><Relationship Id="rId12" Type="http://schemas.microsoft.com/office/2007/relationships/diagramDrawing" Target="../diagrams/drawing1.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diagramColors" Target="../diagrams/colors1.xml"/><Relationship Id="rId5" Type="http://schemas.openxmlformats.org/officeDocument/2006/relationships/notesSlide" Target="../notesSlides/notesSlide6.xml"/><Relationship Id="rId10" Type="http://schemas.openxmlformats.org/officeDocument/2006/relationships/diagramQuickStyle" Target="../diagrams/quickStyle1.xml"/><Relationship Id="rId4" Type="http://schemas.openxmlformats.org/officeDocument/2006/relationships/slideLayout" Target="../slideLayouts/slideLayout3.xml"/><Relationship Id="rId9"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0.png"/><Relationship Id="rId3" Type="http://schemas.openxmlformats.org/officeDocument/2006/relationships/tags" Target="../tags/tag17.xml"/><Relationship Id="rId7" Type="http://schemas.openxmlformats.org/officeDocument/2006/relationships/image" Target="../media/image3.emf"/><Relationship Id="rId12" Type="http://schemas.microsoft.com/office/2007/relationships/diagramDrawing" Target="../diagrams/drawing2.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7.bin"/><Relationship Id="rId11" Type="http://schemas.openxmlformats.org/officeDocument/2006/relationships/diagramColors" Target="../diagrams/colors2.xml"/><Relationship Id="rId5" Type="http://schemas.openxmlformats.org/officeDocument/2006/relationships/notesSlide" Target="../notesSlides/notesSlide7.xml"/><Relationship Id="rId10" Type="http://schemas.openxmlformats.org/officeDocument/2006/relationships/diagramQuickStyle" Target="../diagrams/quickStyle2.xml"/><Relationship Id="rId4" Type="http://schemas.openxmlformats.org/officeDocument/2006/relationships/slideLayout" Target="../slideLayouts/slideLayout3.xml"/><Relationship Id="rId9"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tags" Target="../tags/tag19.xml"/><Relationship Id="rId7" Type="http://schemas.openxmlformats.org/officeDocument/2006/relationships/image" Target="../media/image3.emf"/><Relationship Id="rId12" Type="http://schemas.openxmlformats.org/officeDocument/2006/relationships/image" Target="../media/image15.png"/><Relationship Id="rId2" Type="http://schemas.openxmlformats.org/officeDocument/2006/relationships/tags" Target="../tags/tag18.xml"/><Relationship Id="rId16" Type="http://schemas.openxmlformats.org/officeDocument/2006/relationships/image" Target="../media/image19.png"/><Relationship Id="rId1" Type="http://schemas.openxmlformats.org/officeDocument/2006/relationships/vmlDrawing" Target="../drawings/vmlDrawing9.vml"/><Relationship Id="rId6" Type="http://schemas.openxmlformats.org/officeDocument/2006/relationships/oleObject" Target="../embeddings/oleObject7.bin"/><Relationship Id="rId11" Type="http://schemas.openxmlformats.org/officeDocument/2006/relationships/image" Target="../media/image14.png"/><Relationship Id="rId5" Type="http://schemas.openxmlformats.org/officeDocument/2006/relationships/notesSlide" Target="../notesSlides/notesSlide8.xml"/><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slideLayout" Target="../slideLayouts/slideLayout3.xml"/><Relationship Id="rId9" Type="http://schemas.openxmlformats.org/officeDocument/2006/relationships/image" Target="../media/image12.png"/><Relationship Id="rId1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9904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3600" dirty="0" err="1">
              <a:solidFill>
                <a:schemeClr val="tx1"/>
              </a:solidFill>
              <a:latin typeface="TKTypeMedium"/>
              <a:ea typeface="+mj-ea"/>
              <a:cs typeface="+mj-cs"/>
              <a:sym typeface="TKTypeMedium"/>
            </a:endParaRPr>
          </a:p>
        </p:txBody>
      </p:sp>
      <p:sp>
        <p:nvSpPr>
          <p:cNvPr id="7" name="Textfeld 6"/>
          <p:cNvSpPr txBox="1"/>
          <p:nvPr/>
        </p:nvSpPr>
        <p:spPr>
          <a:xfrm>
            <a:off x="323528" y="3861048"/>
            <a:ext cx="8352928" cy="1483483"/>
          </a:xfrm>
          <a:prstGeom prst="rect">
            <a:avLst/>
          </a:prstGeom>
          <a:noFill/>
        </p:spPr>
        <p:txBody>
          <a:bodyPr wrap="square" lIns="0" tIns="0" rIns="0" bIns="0" rtlCol="0" anchor="t">
            <a:spAutoFit/>
          </a:bodyPr>
          <a:lstStyle/>
          <a:p>
            <a:pPr algn="ctr">
              <a:lnSpc>
                <a:spcPct val="90000"/>
              </a:lnSpc>
              <a:spcBef>
                <a:spcPts val="600"/>
              </a:spcBef>
              <a:spcAft>
                <a:spcPts val="0"/>
              </a:spcAft>
            </a:pPr>
            <a:r>
              <a:rPr lang="de-DE" sz="3200" b="1" dirty="0"/>
              <a:t>Herzlich willkommen </a:t>
            </a:r>
          </a:p>
          <a:p>
            <a:pPr algn="ctr">
              <a:lnSpc>
                <a:spcPct val="90000"/>
              </a:lnSpc>
              <a:spcBef>
                <a:spcPts val="600"/>
              </a:spcBef>
              <a:spcAft>
                <a:spcPts val="0"/>
              </a:spcAft>
            </a:pPr>
            <a:r>
              <a:rPr lang="de-DE" sz="3200" b="1" dirty="0"/>
              <a:t>zum Informationsabend</a:t>
            </a:r>
          </a:p>
          <a:p>
            <a:pPr algn="ctr">
              <a:lnSpc>
                <a:spcPct val="90000"/>
              </a:lnSpc>
              <a:spcBef>
                <a:spcPts val="600"/>
              </a:spcBef>
              <a:spcAft>
                <a:spcPts val="0"/>
              </a:spcAft>
            </a:pPr>
            <a:r>
              <a:rPr lang="de-DE" sz="3200" b="1" dirty="0"/>
              <a:t>04.12.2025</a:t>
            </a:r>
            <a:endParaRPr lang="de-DE" sz="3200" b="1" dirty="0">
              <a:ea typeface="Calibri"/>
              <a:cs typeface="Calibri"/>
            </a:endParaRPr>
          </a:p>
        </p:txBody>
      </p:sp>
    </p:spTree>
    <p:extLst>
      <p:ext uri="{BB962C8B-B14F-4D97-AF65-F5344CB8AC3E}">
        <p14:creationId xmlns:p14="http://schemas.microsoft.com/office/powerpoint/2010/main" val="8207487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225253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250825" y="1037101"/>
            <a:ext cx="8639999" cy="369332"/>
          </a:xfrm>
        </p:spPr>
        <p:txBody>
          <a:bodyPr/>
          <a:lstStyle/>
          <a:p>
            <a:pPr>
              <a:spcAft>
                <a:spcPct val="0"/>
              </a:spcAft>
            </a:pPr>
            <a:r>
              <a:rPr lang="en-US" sz="2400" b="1" dirty="0" err="1"/>
              <a:t>Gesamtschulen</a:t>
            </a:r>
            <a:r>
              <a:rPr lang="en-US" sz="2400" b="1" dirty="0"/>
              <a:t> </a:t>
            </a:r>
            <a:r>
              <a:rPr lang="en-US" sz="2400" b="1" dirty="0" err="1"/>
              <a:t>als</a:t>
            </a:r>
            <a:r>
              <a:rPr lang="en-US" sz="2400" b="1" dirty="0"/>
              <a:t> </a:t>
            </a:r>
            <a:r>
              <a:rPr lang="en-US" sz="2400" b="1" dirty="0" err="1"/>
              <a:t>Schulform</a:t>
            </a:r>
            <a:r>
              <a:rPr lang="en-US" sz="2400" b="1" dirty="0"/>
              <a:t>: </a:t>
            </a:r>
            <a:r>
              <a:rPr lang="en-US" sz="2400" b="1" dirty="0" err="1"/>
              <a:t>Grundprinzipien</a:t>
            </a:r>
            <a:endParaRPr lang="de-DE" sz="2400" b="1" dirty="0">
              <a:solidFill>
                <a:schemeClr val="bg2">
                  <a:lumMod val="50000"/>
                </a:schemeClr>
              </a:solidFill>
            </a:endParaRPr>
          </a:p>
        </p:txBody>
      </p:sp>
      <p:sp>
        <p:nvSpPr>
          <p:cNvPr id="4" name="Inhaltsplatzhalter 3"/>
          <p:cNvSpPr>
            <a:spLocks noGrp="1"/>
          </p:cNvSpPr>
          <p:nvPr>
            <p:ph idx="1"/>
          </p:nvPr>
        </p:nvSpPr>
        <p:spPr/>
        <p:txBody>
          <a:bodyPr/>
          <a:lstStyle/>
          <a:p>
            <a:pPr marL="0" indent="0">
              <a:buNone/>
            </a:pPr>
            <a:endParaRPr lang="de-DE" b="1" dirty="0"/>
          </a:p>
          <a:p>
            <a:pPr marL="0" indent="0">
              <a:buNone/>
            </a:pPr>
            <a:endParaRPr lang="de-DE" dirty="0"/>
          </a:p>
        </p:txBody>
      </p:sp>
      <p:sp>
        <p:nvSpPr>
          <p:cNvPr id="7" name="Titel 2"/>
          <p:cNvSpPr txBox="1">
            <a:spLocks/>
          </p:cNvSpPr>
          <p:nvPr/>
        </p:nvSpPr>
        <p:spPr>
          <a:xfrm>
            <a:off x="251519" y="1451798"/>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Fachleistungsdifferenzierung</a:t>
            </a:r>
            <a:r>
              <a:rPr lang="en-US" i="1" dirty="0">
                <a:solidFill>
                  <a:srgbClr val="92D050"/>
                </a:solidFill>
              </a:rPr>
              <a:t>: </a:t>
            </a:r>
            <a:r>
              <a:rPr lang="en-US" i="1" dirty="0" err="1">
                <a:solidFill>
                  <a:srgbClr val="92D050"/>
                </a:solidFill>
              </a:rPr>
              <a:t>Niveau</a:t>
            </a:r>
            <a:r>
              <a:rPr lang="en-US" i="1" dirty="0">
                <a:solidFill>
                  <a:srgbClr val="92D050"/>
                </a:solidFill>
              </a:rPr>
              <a:t> E/G</a:t>
            </a:r>
          </a:p>
        </p:txBody>
      </p:sp>
      <p:graphicFrame>
        <p:nvGraphicFramePr>
          <p:cNvPr id="13" name="Diagramm 12"/>
          <p:cNvGraphicFramePr/>
          <p:nvPr>
            <p:extLst>
              <p:ext uri="{D42A27DB-BD31-4B8C-83A1-F6EECF244321}">
                <p14:modId xmlns:p14="http://schemas.microsoft.com/office/powerpoint/2010/main" val="3933516821"/>
              </p:ext>
            </p:extLst>
          </p:nvPr>
        </p:nvGraphicFramePr>
        <p:xfrm>
          <a:off x="1312817" y="1787662"/>
          <a:ext cx="6787575" cy="372134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6" name="AutoShape 72"/>
          <p:cNvSpPr>
            <a:spLocks noChangeArrowheads="1"/>
          </p:cNvSpPr>
          <p:nvPr/>
        </p:nvSpPr>
        <p:spPr bwMode="auto">
          <a:xfrm>
            <a:off x="0" y="5768792"/>
            <a:ext cx="8280399" cy="576064"/>
          </a:xfrm>
          <a:prstGeom prst="rect">
            <a:avLst/>
          </a:prstGeom>
          <a:solidFill>
            <a:srgbClr val="558ED5"/>
          </a:solidFill>
          <a:ln w="12700" algn="ctr">
            <a:noFill/>
            <a:round/>
            <a:headEnd/>
            <a:tailEnd/>
          </a:ln>
          <a:effectLst/>
        </p:spPr>
        <p:txBody>
          <a:bodyPr lIns="252000" anchor="ctr"/>
          <a:lstStyle/>
          <a:p>
            <a:pPr marL="1588" eaLnBrk="0" hangingPunct="0">
              <a:lnSpc>
                <a:spcPct val="90000"/>
              </a:lnSpc>
              <a:defRPr/>
            </a:pPr>
            <a:r>
              <a:rPr lang="de-DE" sz="1400" kern="0" dirty="0">
                <a:solidFill>
                  <a:srgbClr val="FFFFFF"/>
                </a:solidFill>
              </a:rPr>
              <a:t>Wechsel bis JG 10 möglich; Anzahl E-Kurse maßgeblich für Schulabschluss; Binnen-/Außendifferenzierung</a:t>
            </a:r>
          </a:p>
        </p:txBody>
      </p:sp>
    </p:spTree>
    <p:extLst>
      <p:ext uri="{BB962C8B-B14F-4D97-AF65-F5344CB8AC3E}">
        <p14:creationId xmlns:p14="http://schemas.microsoft.com/office/powerpoint/2010/main" val="1136004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endParaRPr lang="de-DE"/>
          </a:p>
        </p:txBody>
      </p:sp>
      <p:sp>
        <p:nvSpPr>
          <p:cNvPr id="5" name="Titel 2"/>
          <p:cNvSpPr>
            <a:spLocks noGrp="1"/>
          </p:cNvSpPr>
          <p:nvPr>
            <p:ph type="title"/>
          </p:nvPr>
        </p:nvSpPr>
        <p:spPr>
          <a:xfrm>
            <a:off x="250825" y="1037101"/>
            <a:ext cx="8639999" cy="707886"/>
          </a:xfrm>
        </p:spPr>
        <p:txBody>
          <a:bodyPr/>
          <a:lstStyle/>
          <a:p>
            <a:pPr>
              <a:spcAft>
                <a:spcPct val="0"/>
              </a:spcAft>
            </a:pPr>
            <a:r>
              <a:rPr lang="en-US" sz="2300" b="1" dirty="0" err="1">
                <a:solidFill>
                  <a:srgbClr val="558ED5"/>
                </a:solidFill>
              </a:rPr>
              <a:t>Gesamtschulen</a:t>
            </a:r>
            <a:r>
              <a:rPr lang="en-US" sz="2300" b="1" dirty="0">
                <a:solidFill>
                  <a:srgbClr val="558ED5"/>
                </a:solidFill>
              </a:rPr>
              <a:t> </a:t>
            </a:r>
            <a:r>
              <a:rPr lang="en-US" sz="2300" b="1" dirty="0" err="1">
                <a:solidFill>
                  <a:srgbClr val="558ED5"/>
                </a:solidFill>
              </a:rPr>
              <a:t>als</a:t>
            </a:r>
            <a:r>
              <a:rPr lang="en-US" sz="2300" b="1" dirty="0">
                <a:solidFill>
                  <a:srgbClr val="558ED5"/>
                </a:solidFill>
              </a:rPr>
              <a:t> </a:t>
            </a:r>
            <a:r>
              <a:rPr lang="en-US" sz="2300" b="1" dirty="0" err="1">
                <a:solidFill>
                  <a:srgbClr val="558ED5"/>
                </a:solidFill>
              </a:rPr>
              <a:t>Schulform</a:t>
            </a:r>
            <a:r>
              <a:rPr lang="en-US" sz="2300" b="1" dirty="0">
                <a:solidFill>
                  <a:srgbClr val="558ED5"/>
                </a:solidFill>
              </a:rPr>
              <a:t>: </a:t>
            </a:r>
            <a:r>
              <a:rPr lang="en-US" sz="2300" b="1" dirty="0" err="1">
                <a:solidFill>
                  <a:srgbClr val="558ED5"/>
                </a:solidFill>
              </a:rPr>
              <a:t>Fachleistungsdifferenzierung</a:t>
            </a:r>
            <a:r>
              <a:rPr lang="en-US" sz="2300" b="1" dirty="0">
                <a:solidFill>
                  <a:srgbClr val="558ED5"/>
                </a:solidFill>
              </a:rPr>
              <a:t/>
            </a:r>
            <a:br>
              <a:rPr lang="en-US" sz="2300" b="1" dirty="0">
                <a:solidFill>
                  <a:srgbClr val="558ED5"/>
                </a:solidFill>
              </a:rPr>
            </a:br>
            <a:r>
              <a:rPr lang="en-US" sz="2300" b="1" dirty="0" err="1">
                <a:solidFill>
                  <a:srgbClr val="558ED5"/>
                </a:solidFill>
              </a:rPr>
              <a:t>Beispiel</a:t>
            </a:r>
            <a:r>
              <a:rPr lang="en-US" sz="2300" b="1" dirty="0">
                <a:solidFill>
                  <a:srgbClr val="558ED5"/>
                </a:solidFill>
              </a:rPr>
              <a:t>: </a:t>
            </a:r>
            <a:r>
              <a:rPr lang="en-US" sz="2300" b="1" dirty="0" err="1">
                <a:solidFill>
                  <a:srgbClr val="558ED5"/>
                </a:solidFill>
              </a:rPr>
              <a:t>Fach</a:t>
            </a:r>
            <a:r>
              <a:rPr lang="en-US" sz="2300" b="1" dirty="0">
                <a:solidFill>
                  <a:srgbClr val="558ED5"/>
                </a:solidFill>
              </a:rPr>
              <a:t> Deutsch</a:t>
            </a:r>
            <a:endParaRPr lang="de-DE" sz="2300" b="1" dirty="0">
              <a:solidFill>
                <a:srgbClr val="558ED5"/>
              </a:solidFill>
            </a:endParaRPr>
          </a:p>
        </p:txBody>
      </p:sp>
      <p:sp>
        <p:nvSpPr>
          <p:cNvPr id="6" name="AutoShape 2" descr="02.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7624" y="1744987"/>
            <a:ext cx="6328584" cy="4368845"/>
          </a:xfrm>
          <a:prstGeom prst="rect">
            <a:avLst/>
          </a:prstGeom>
        </p:spPr>
      </p:pic>
    </p:spTree>
    <p:extLst>
      <p:ext uri="{BB962C8B-B14F-4D97-AF65-F5344CB8AC3E}">
        <p14:creationId xmlns:p14="http://schemas.microsoft.com/office/powerpoint/2010/main" val="6792304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15847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3"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250825" y="840451"/>
            <a:ext cx="8639999" cy="369332"/>
          </a:xfrm>
        </p:spPr>
        <p:txBody>
          <a:bodyPr/>
          <a:lstStyle/>
          <a:p>
            <a:pPr>
              <a:spcAft>
                <a:spcPct val="0"/>
              </a:spcAft>
            </a:pPr>
            <a:r>
              <a:rPr lang="en-US" sz="2400" b="1" dirty="0" err="1">
                <a:solidFill>
                  <a:srgbClr val="558ED5"/>
                </a:solidFill>
              </a:rPr>
              <a:t>Gesamtschulen</a:t>
            </a:r>
            <a:r>
              <a:rPr lang="en-US" sz="2400" b="1" dirty="0">
                <a:solidFill>
                  <a:srgbClr val="558ED5"/>
                </a:solidFill>
              </a:rPr>
              <a:t> </a:t>
            </a:r>
            <a:r>
              <a:rPr lang="en-US" sz="2400" b="1" dirty="0" err="1">
                <a:solidFill>
                  <a:srgbClr val="558ED5"/>
                </a:solidFill>
              </a:rPr>
              <a:t>als</a:t>
            </a:r>
            <a:r>
              <a:rPr lang="en-US" sz="2400" b="1" dirty="0">
                <a:solidFill>
                  <a:srgbClr val="558ED5"/>
                </a:solidFill>
              </a:rPr>
              <a:t> </a:t>
            </a:r>
            <a:r>
              <a:rPr lang="en-US" sz="2400" b="1" dirty="0" err="1">
                <a:solidFill>
                  <a:srgbClr val="558ED5"/>
                </a:solidFill>
              </a:rPr>
              <a:t>Schulform</a:t>
            </a:r>
            <a:r>
              <a:rPr lang="en-US" sz="2400" b="1" dirty="0">
                <a:solidFill>
                  <a:srgbClr val="558ED5"/>
                </a:solidFill>
              </a:rPr>
              <a:t>: </a:t>
            </a:r>
            <a:r>
              <a:rPr lang="en-US" sz="2400" b="1" dirty="0" err="1">
                <a:solidFill>
                  <a:srgbClr val="558ED5"/>
                </a:solidFill>
              </a:rPr>
              <a:t>Grundprinzipien</a:t>
            </a:r>
            <a:endParaRPr lang="de-DE" sz="2400" b="1" dirty="0">
              <a:solidFill>
                <a:srgbClr val="558ED5"/>
              </a:solidFill>
            </a:endParaRPr>
          </a:p>
        </p:txBody>
      </p:sp>
      <p:sp>
        <p:nvSpPr>
          <p:cNvPr id="7" name="Titel 2"/>
          <p:cNvSpPr txBox="1">
            <a:spLocks/>
          </p:cNvSpPr>
          <p:nvPr/>
        </p:nvSpPr>
        <p:spPr>
          <a:xfrm>
            <a:off x="251519" y="1261459"/>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Sprachenfolge</a:t>
            </a:r>
            <a:r>
              <a:rPr lang="en-US" i="1" dirty="0">
                <a:solidFill>
                  <a:srgbClr val="92D050"/>
                </a:solidFill>
              </a:rPr>
              <a:t> </a:t>
            </a:r>
            <a:r>
              <a:rPr lang="en-US" i="1" dirty="0" err="1">
                <a:solidFill>
                  <a:srgbClr val="92D050"/>
                </a:solidFill>
              </a:rPr>
              <a:t>bis</a:t>
            </a:r>
            <a:r>
              <a:rPr lang="en-US" i="1" dirty="0">
                <a:solidFill>
                  <a:srgbClr val="92D050"/>
                </a:solidFill>
              </a:rPr>
              <a:t> </a:t>
            </a:r>
            <a:r>
              <a:rPr lang="en-US" i="1" dirty="0" err="1">
                <a:solidFill>
                  <a:srgbClr val="92D050"/>
                </a:solidFill>
              </a:rPr>
              <a:t>zum</a:t>
            </a:r>
            <a:r>
              <a:rPr lang="en-US" i="1" dirty="0">
                <a:solidFill>
                  <a:srgbClr val="92D050"/>
                </a:solidFill>
              </a:rPr>
              <a:t> Abitur</a:t>
            </a:r>
          </a:p>
        </p:txBody>
      </p:sp>
      <p:sp>
        <p:nvSpPr>
          <p:cNvPr id="12" name="Textplatzhalter 13"/>
          <p:cNvSpPr>
            <a:spLocks noGrp="1"/>
          </p:cNvSpPr>
          <p:nvPr>
            <p:ph type="body" sz="quarter" idx="12"/>
          </p:nvPr>
        </p:nvSpPr>
        <p:spPr>
          <a:xfrm>
            <a:off x="250825" y="6165304"/>
            <a:ext cx="8029573" cy="144922"/>
          </a:xfrm>
        </p:spPr>
        <p:txBody>
          <a:bodyPr/>
          <a:lstStyle/>
          <a:p>
            <a:r>
              <a:rPr lang="de-DE" dirty="0">
                <a:latin typeface="TKTypeMedium"/>
              </a:rPr>
              <a:t>*</a:t>
            </a:r>
            <a:r>
              <a:rPr lang="de-DE" dirty="0"/>
              <a:t>EF = Einführungsphase    ; Q1+Q2 =  Qualifikationsphase  1 + 2</a:t>
            </a:r>
          </a:p>
        </p:txBody>
      </p:sp>
      <p:cxnSp>
        <p:nvCxnSpPr>
          <p:cNvPr id="10" name="Gerade Verbindung 9"/>
          <p:cNvCxnSpPr/>
          <p:nvPr/>
        </p:nvCxnSpPr>
        <p:spPr>
          <a:xfrm>
            <a:off x="467544" y="1268760"/>
            <a:ext cx="1656184" cy="50405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3" name="Inhaltsplatzhalter 5"/>
          <p:cNvGraphicFramePr>
            <a:graphicFrameLocks/>
          </p:cNvGraphicFramePr>
          <p:nvPr>
            <p:extLst>
              <p:ext uri="{D42A27DB-BD31-4B8C-83A1-F6EECF244321}">
                <p14:modId xmlns:p14="http://schemas.microsoft.com/office/powerpoint/2010/main" val="2971344799"/>
              </p:ext>
            </p:extLst>
          </p:nvPr>
        </p:nvGraphicFramePr>
        <p:xfrm>
          <a:off x="250828" y="1651688"/>
          <a:ext cx="8640000" cy="3268516"/>
        </p:xfrm>
        <a:graphic>
          <a:graphicData uri="http://schemas.openxmlformats.org/drawingml/2006/table">
            <a:tbl>
              <a:tblPr firstRow="1" bandRow="1">
                <a:tableStyleId>{5C22544A-7EE6-4342-B048-85BDC9FD1C3A}</a:tableStyleId>
              </a:tblPr>
              <a:tblGrid>
                <a:gridCol w="1731816">
                  <a:extLst>
                    <a:ext uri="{9D8B030D-6E8A-4147-A177-3AD203B41FA5}">
                      <a16:colId xmlns:a16="http://schemas.microsoft.com/office/drawing/2014/main" val="20000"/>
                    </a:ext>
                  </a:extLst>
                </a:gridCol>
                <a:gridCol w="767576">
                  <a:extLst>
                    <a:ext uri="{9D8B030D-6E8A-4147-A177-3AD203B41FA5}">
                      <a16:colId xmlns:a16="http://schemas.microsoft.com/office/drawing/2014/main" val="20001"/>
                    </a:ext>
                  </a:extLst>
                </a:gridCol>
                <a:gridCol w="767576">
                  <a:extLst>
                    <a:ext uri="{9D8B030D-6E8A-4147-A177-3AD203B41FA5}">
                      <a16:colId xmlns:a16="http://schemas.microsoft.com/office/drawing/2014/main" val="20002"/>
                    </a:ext>
                  </a:extLst>
                </a:gridCol>
                <a:gridCol w="767576">
                  <a:extLst>
                    <a:ext uri="{9D8B030D-6E8A-4147-A177-3AD203B41FA5}">
                      <a16:colId xmlns:a16="http://schemas.microsoft.com/office/drawing/2014/main" val="20003"/>
                    </a:ext>
                  </a:extLst>
                </a:gridCol>
                <a:gridCol w="767576">
                  <a:extLst>
                    <a:ext uri="{9D8B030D-6E8A-4147-A177-3AD203B41FA5}">
                      <a16:colId xmlns:a16="http://schemas.microsoft.com/office/drawing/2014/main" val="20004"/>
                    </a:ext>
                  </a:extLst>
                </a:gridCol>
                <a:gridCol w="767576">
                  <a:extLst>
                    <a:ext uri="{9D8B030D-6E8A-4147-A177-3AD203B41FA5}">
                      <a16:colId xmlns:a16="http://schemas.microsoft.com/office/drawing/2014/main" val="20005"/>
                    </a:ext>
                  </a:extLst>
                </a:gridCol>
                <a:gridCol w="767576">
                  <a:extLst>
                    <a:ext uri="{9D8B030D-6E8A-4147-A177-3AD203B41FA5}">
                      <a16:colId xmlns:a16="http://schemas.microsoft.com/office/drawing/2014/main" val="20006"/>
                    </a:ext>
                  </a:extLst>
                </a:gridCol>
                <a:gridCol w="767576">
                  <a:extLst>
                    <a:ext uri="{9D8B030D-6E8A-4147-A177-3AD203B41FA5}">
                      <a16:colId xmlns:a16="http://schemas.microsoft.com/office/drawing/2014/main" val="20007"/>
                    </a:ext>
                  </a:extLst>
                </a:gridCol>
                <a:gridCol w="767576">
                  <a:extLst>
                    <a:ext uri="{9D8B030D-6E8A-4147-A177-3AD203B41FA5}">
                      <a16:colId xmlns:a16="http://schemas.microsoft.com/office/drawing/2014/main" val="20008"/>
                    </a:ext>
                  </a:extLst>
                </a:gridCol>
                <a:gridCol w="767576">
                  <a:extLst>
                    <a:ext uri="{9D8B030D-6E8A-4147-A177-3AD203B41FA5}">
                      <a16:colId xmlns:a16="http://schemas.microsoft.com/office/drawing/2014/main" val="20009"/>
                    </a:ext>
                  </a:extLst>
                </a:gridCol>
              </a:tblGrid>
              <a:tr h="591974">
                <a:tc>
                  <a:txBody>
                    <a:bodyPr/>
                    <a:lstStyle/>
                    <a:p>
                      <a:pPr algn="r"/>
                      <a:r>
                        <a:rPr lang="de-DE" sz="1400" dirty="0"/>
                        <a:t>Jahrgang</a:t>
                      </a:r>
                    </a:p>
                    <a:p>
                      <a:r>
                        <a:rPr lang="de-DE" sz="1400" dirty="0"/>
                        <a:t>Fach</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de-DE" sz="1400" dirty="0"/>
                        <a:t>5</a:t>
                      </a:r>
                    </a:p>
                  </a:txBody>
                  <a:tcPr>
                    <a:lnL w="12700" cmpd="sng">
                      <a:noFill/>
                    </a:lnL>
                    <a:lnT w="12700" cap="flat" cmpd="sng" algn="ctr">
                      <a:solidFill>
                        <a:schemeClr val="tx1"/>
                      </a:solidFill>
                      <a:prstDash val="solid"/>
                      <a:round/>
                      <a:headEnd type="none" w="med" len="med"/>
                      <a:tailEnd type="none" w="med" len="med"/>
                    </a:lnT>
                  </a:tcPr>
                </a:tc>
                <a:tc>
                  <a:txBody>
                    <a:bodyPr/>
                    <a:lstStyle/>
                    <a:p>
                      <a:r>
                        <a:rPr lang="de-DE" sz="1400" dirty="0"/>
                        <a:t>6</a:t>
                      </a:r>
                    </a:p>
                  </a:txBody>
                  <a:tcPr>
                    <a:lnT w="12700" cap="flat" cmpd="sng" algn="ctr">
                      <a:solidFill>
                        <a:schemeClr val="tx1"/>
                      </a:solidFill>
                      <a:prstDash val="solid"/>
                      <a:round/>
                      <a:headEnd type="none" w="med" len="med"/>
                      <a:tailEnd type="none" w="med" len="med"/>
                    </a:lnT>
                  </a:tcPr>
                </a:tc>
                <a:tc>
                  <a:txBody>
                    <a:bodyPr/>
                    <a:lstStyle/>
                    <a:p>
                      <a:r>
                        <a:rPr lang="de-DE" sz="1400" dirty="0"/>
                        <a:t>7</a:t>
                      </a:r>
                    </a:p>
                  </a:txBody>
                  <a:tcPr>
                    <a:lnT w="12700" cap="flat" cmpd="sng" algn="ctr">
                      <a:solidFill>
                        <a:schemeClr val="tx1"/>
                      </a:solidFill>
                      <a:prstDash val="solid"/>
                      <a:round/>
                      <a:headEnd type="none" w="med" len="med"/>
                      <a:tailEnd type="none" w="med" len="med"/>
                    </a:lnT>
                  </a:tcPr>
                </a:tc>
                <a:tc>
                  <a:txBody>
                    <a:bodyPr/>
                    <a:lstStyle/>
                    <a:p>
                      <a:r>
                        <a:rPr lang="de-DE" sz="1400" dirty="0"/>
                        <a:t>8</a:t>
                      </a:r>
                    </a:p>
                  </a:txBody>
                  <a:tcPr>
                    <a:lnT w="12700" cap="flat" cmpd="sng" algn="ctr">
                      <a:solidFill>
                        <a:schemeClr val="tx1"/>
                      </a:solidFill>
                      <a:prstDash val="solid"/>
                      <a:round/>
                      <a:headEnd type="none" w="med" len="med"/>
                      <a:tailEnd type="none" w="med" len="med"/>
                    </a:lnT>
                  </a:tcPr>
                </a:tc>
                <a:tc>
                  <a:txBody>
                    <a:bodyPr/>
                    <a:lstStyle/>
                    <a:p>
                      <a:r>
                        <a:rPr lang="de-DE" sz="1400" dirty="0"/>
                        <a:t>9</a:t>
                      </a:r>
                    </a:p>
                  </a:txBody>
                  <a:tcPr>
                    <a:lnT w="12700" cap="flat" cmpd="sng" algn="ctr">
                      <a:solidFill>
                        <a:schemeClr val="tx1"/>
                      </a:solidFill>
                      <a:prstDash val="solid"/>
                      <a:round/>
                      <a:headEnd type="none" w="med" len="med"/>
                      <a:tailEnd type="none" w="med" len="med"/>
                    </a:lnT>
                  </a:tcPr>
                </a:tc>
                <a:tc>
                  <a:txBody>
                    <a:bodyPr/>
                    <a:lstStyle/>
                    <a:p>
                      <a:r>
                        <a:rPr lang="de-DE" sz="1400" dirty="0"/>
                        <a:t>10</a:t>
                      </a:r>
                    </a:p>
                  </a:txBody>
                  <a:tcPr>
                    <a:lnT w="12700" cap="flat" cmpd="sng" algn="ctr">
                      <a:solidFill>
                        <a:schemeClr val="tx1"/>
                      </a:solidFill>
                      <a:prstDash val="solid"/>
                      <a:round/>
                      <a:headEnd type="none" w="med" len="med"/>
                      <a:tailEnd type="none" w="med" len="med"/>
                    </a:lnT>
                  </a:tcPr>
                </a:tc>
                <a:tc>
                  <a:txBody>
                    <a:bodyPr/>
                    <a:lstStyle/>
                    <a:p>
                      <a:r>
                        <a:rPr lang="de-DE" sz="1400" dirty="0"/>
                        <a:t>EF</a:t>
                      </a:r>
                      <a:r>
                        <a:rPr lang="de-DE" sz="1400" dirty="0">
                          <a:latin typeface="TKTypeMedium"/>
                        </a:rPr>
                        <a:t>*</a:t>
                      </a:r>
                      <a:endParaRPr lang="de-DE" sz="1400" dirty="0"/>
                    </a:p>
                  </a:txBody>
                  <a:tcPr>
                    <a:lnT w="12700" cap="flat" cmpd="sng" algn="ctr">
                      <a:solidFill>
                        <a:schemeClr val="tx1"/>
                      </a:solidFill>
                      <a:prstDash val="solid"/>
                      <a:round/>
                      <a:headEnd type="none" w="med" len="med"/>
                      <a:tailEnd type="none" w="med" len="med"/>
                    </a:lnT>
                  </a:tcPr>
                </a:tc>
                <a:tc>
                  <a:txBody>
                    <a:bodyPr/>
                    <a:lstStyle/>
                    <a:p>
                      <a:r>
                        <a:rPr lang="de-DE" sz="1400" dirty="0"/>
                        <a:t>Q1</a:t>
                      </a:r>
                      <a:r>
                        <a:rPr lang="de-DE" sz="1400" dirty="0">
                          <a:latin typeface="+mn-lt"/>
                        </a:rPr>
                        <a:t>*</a:t>
                      </a:r>
                      <a:endParaRPr lang="de-DE" sz="1400" dirty="0"/>
                    </a:p>
                  </a:txBody>
                  <a:tcPr>
                    <a:lnT w="12700" cap="flat" cmpd="sng" algn="ctr">
                      <a:solidFill>
                        <a:schemeClr val="tx1"/>
                      </a:solidFill>
                      <a:prstDash val="solid"/>
                      <a:round/>
                      <a:headEnd type="none" w="med" len="med"/>
                      <a:tailEnd type="none" w="med" len="med"/>
                    </a:lnT>
                  </a:tcPr>
                </a:tc>
                <a:tc>
                  <a:txBody>
                    <a:bodyPr/>
                    <a:lstStyle/>
                    <a:p>
                      <a:r>
                        <a:rPr lang="de-DE" sz="1400" dirty="0"/>
                        <a:t>Q2</a:t>
                      </a:r>
                      <a:r>
                        <a:rPr lang="de-DE" sz="1400" dirty="0">
                          <a:latin typeface="+mn-lt"/>
                        </a:rPr>
                        <a:t>*</a:t>
                      </a:r>
                      <a:endParaRPr lang="de-DE" sz="14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591974">
                <a:tc>
                  <a:txBody>
                    <a:bodyPr/>
                    <a:lstStyle/>
                    <a:p>
                      <a:r>
                        <a:rPr lang="de-DE" sz="1200" dirty="0"/>
                        <a:t>Englisch</a:t>
                      </a:r>
                    </a:p>
                  </a:txBody>
                  <a:tcPr anchor="ctr">
                    <a:lnL w="12700" cap="flat" cmpd="sng" algn="ctr">
                      <a:solidFill>
                        <a:schemeClr val="tx1"/>
                      </a:solidFill>
                      <a:prstDash val="solid"/>
                      <a:round/>
                      <a:headEnd type="none" w="med" len="med"/>
                      <a:tailEnd type="none" w="med" len="med"/>
                    </a:lnL>
                    <a:lnT w="38100" cmpd="sng">
                      <a:noFill/>
                    </a:lnT>
                  </a:tcPr>
                </a:tc>
                <a:tc gridSpan="9">
                  <a:txBody>
                    <a:bodyPr/>
                    <a:lstStyle/>
                    <a:p>
                      <a:pPr algn="ctr"/>
                      <a:r>
                        <a:rPr lang="de-DE" sz="1200" i="1" dirty="0"/>
                        <a:t>4 – 5 Wochenstunden (Pflichtfach)</a:t>
                      </a:r>
                    </a:p>
                  </a:txBody>
                  <a:tcPr anchor="ctr">
                    <a:lnR w="12700" cap="flat" cmpd="sng" algn="ctr">
                      <a:solidFill>
                        <a:schemeClr val="tx1"/>
                      </a:solidFill>
                      <a:prstDash val="solid"/>
                      <a:round/>
                      <a:headEnd type="none" w="med" len="med"/>
                      <a:tailEnd type="none" w="med" len="med"/>
                    </a:lnR>
                    <a:solidFill>
                      <a:srgbClr val="F1F193"/>
                    </a:solidFill>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10001"/>
                  </a:ext>
                </a:extLst>
              </a:tr>
              <a:tr h="722244">
                <a:tc>
                  <a:txBody>
                    <a:bodyPr/>
                    <a:lstStyle/>
                    <a:p>
                      <a:r>
                        <a:rPr lang="de-DE" sz="1200" dirty="0"/>
                        <a:t>Spanisch</a:t>
                      </a:r>
                    </a:p>
                  </a:txBody>
                  <a:tcPr anchor="ctr">
                    <a:lnL w="12700" cap="flat" cmpd="sng" algn="ctr">
                      <a:solidFill>
                        <a:schemeClr val="tx1"/>
                      </a:solidFill>
                      <a:prstDash val="solid"/>
                      <a:round/>
                      <a:headEnd type="none" w="med" len="med"/>
                      <a:tailEnd type="none" w="med" len="med"/>
                    </a:lnL>
                  </a:tcPr>
                </a:tc>
                <a:tc>
                  <a:txBody>
                    <a:bodyPr/>
                    <a:lstStyle/>
                    <a:p>
                      <a:pPr algn="ctr"/>
                      <a:endParaRPr lang="de-DE" sz="1200" i="1" dirty="0"/>
                    </a:p>
                  </a:txBody>
                  <a:tcPr anchor="ctr"/>
                </a:tc>
                <a:tc>
                  <a:txBody>
                    <a:bodyPr/>
                    <a:lstStyle/>
                    <a:p>
                      <a:pPr algn="ctr"/>
                      <a:endParaRPr lang="de-DE" sz="1200" i="1" dirty="0"/>
                    </a:p>
                  </a:txBody>
                  <a:tcPr anchor="ctr"/>
                </a:tc>
                <a:tc gridSpan="4">
                  <a:txBody>
                    <a:bodyPr/>
                    <a:lstStyle/>
                    <a:p>
                      <a:pPr algn="ctr"/>
                      <a:r>
                        <a:rPr lang="de-DE" sz="1200" i="1" dirty="0">
                          <a:solidFill>
                            <a:schemeClr val="bg1"/>
                          </a:solidFill>
                        </a:rPr>
                        <a:t>3 </a:t>
                      </a:r>
                      <a:r>
                        <a:rPr lang="de-DE" sz="1200" i="1" dirty="0" smtClean="0">
                          <a:solidFill>
                            <a:schemeClr val="bg1"/>
                          </a:solidFill>
                        </a:rPr>
                        <a:t>-4 Wochenstunden </a:t>
                      </a:r>
                      <a:r>
                        <a:rPr lang="de-DE" sz="1200" i="1" dirty="0">
                          <a:solidFill>
                            <a:schemeClr val="bg1"/>
                          </a:solidFill>
                        </a:rPr>
                        <a:t>(Wahlpflichtfach)</a:t>
                      </a:r>
                    </a:p>
                    <a:p>
                      <a:pPr algn="ctr"/>
                      <a:endParaRPr lang="de-DE" sz="1200" i="1" dirty="0">
                        <a:solidFill>
                          <a:schemeClr val="bg1"/>
                        </a:solidFill>
                      </a:endParaRPr>
                    </a:p>
                  </a:txBody>
                  <a:tcPr anchor="ctr">
                    <a:solidFill>
                      <a:srgbClr val="92D050"/>
                    </a:solidFill>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a:txBody>
                    <a:bodyPr/>
                    <a:lstStyle/>
                    <a:p>
                      <a:pPr algn="ctr"/>
                      <a:endParaRPr lang="de-DE" sz="1200" i="1" dirty="0">
                        <a:solidFill>
                          <a:schemeClr val="bg1"/>
                        </a:solidFill>
                      </a:endParaRPr>
                    </a:p>
                  </a:txBody>
                  <a:tcPr anchor="ctr">
                    <a:pattFill prst="wdUpDiag">
                      <a:fgClr>
                        <a:srgbClr val="92D050"/>
                      </a:fgClr>
                      <a:bgClr>
                        <a:schemeClr val="bg1"/>
                      </a:bgClr>
                    </a:pattFill>
                  </a:tcPr>
                </a:tc>
                <a:tc>
                  <a:txBody>
                    <a:bodyPr/>
                    <a:lstStyle/>
                    <a:p>
                      <a:pPr algn="ctr"/>
                      <a:endParaRPr lang="de-DE" sz="1200" i="1" dirty="0"/>
                    </a:p>
                  </a:txBody>
                  <a:tcPr anchor="ctr">
                    <a:pattFill prst="wdUpDiag">
                      <a:fgClr>
                        <a:srgbClr val="92D050"/>
                      </a:fgClr>
                      <a:bgClr>
                        <a:schemeClr val="bg1"/>
                      </a:bgClr>
                    </a:pattFill>
                  </a:tcPr>
                </a:tc>
                <a:tc>
                  <a:txBody>
                    <a:bodyPr/>
                    <a:lstStyle/>
                    <a:p>
                      <a:pPr algn="ctr"/>
                      <a:endParaRPr lang="de-DE" sz="1200" i="1" dirty="0"/>
                    </a:p>
                  </a:txBody>
                  <a:tcPr anchor="ctr">
                    <a:lnR w="12700" cap="flat" cmpd="sng" algn="ctr">
                      <a:solidFill>
                        <a:schemeClr val="tx1"/>
                      </a:solidFill>
                      <a:prstDash val="solid"/>
                      <a:round/>
                      <a:headEnd type="none" w="med" len="med"/>
                      <a:tailEnd type="none" w="med" len="med"/>
                    </a:lnR>
                    <a:pattFill prst="wdUpDiag">
                      <a:fgClr>
                        <a:srgbClr val="92D050"/>
                      </a:fgClr>
                      <a:bgClr>
                        <a:schemeClr val="bg1"/>
                      </a:bgClr>
                    </a:pattFill>
                  </a:tcPr>
                </a:tc>
                <a:extLst>
                  <a:ext uri="{0D108BD9-81ED-4DB2-BD59-A6C34878D82A}">
                    <a16:rowId xmlns:a16="http://schemas.microsoft.com/office/drawing/2014/main" val="10002"/>
                  </a:ext>
                </a:extLst>
              </a:tr>
              <a:tr h="722244">
                <a:tc>
                  <a:txBody>
                    <a:bodyPr/>
                    <a:lstStyle/>
                    <a:p>
                      <a:r>
                        <a:rPr lang="de-DE" sz="1200" dirty="0"/>
                        <a:t>Französisch</a:t>
                      </a:r>
                    </a:p>
                  </a:txBody>
                  <a:tcPr anchor="ctr">
                    <a:lnL w="12700" cap="flat" cmpd="sng" algn="ctr">
                      <a:solidFill>
                        <a:schemeClr val="tx1"/>
                      </a:solidFill>
                      <a:prstDash val="solid"/>
                      <a:round/>
                      <a:headEnd type="none" w="med" len="med"/>
                      <a:tailEnd type="none" w="med" len="med"/>
                    </a:lnL>
                  </a:tcPr>
                </a:tc>
                <a:tc>
                  <a:txBody>
                    <a:bodyPr/>
                    <a:lstStyle/>
                    <a:p>
                      <a:pPr algn="ctr"/>
                      <a:endParaRPr lang="de-DE" sz="1200" i="1" dirty="0"/>
                    </a:p>
                  </a:txBody>
                  <a:tcPr anchor="ctr"/>
                </a:tc>
                <a:tc>
                  <a:txBody>
                    <a:bodyPr/>
                    <a:lstStyle/>
                    <a:p>
                      <a:pPr algn="ctr"/>
                      <a:endParaRPr lang="de-DE" sz="1200" i="1" dirty="0"/>
                    </a:p>
                  </a:txBody>
                  <a:tcPr anchor="ctr"/>
                </a:tc>
                <a:tc>
                  <a:txBody>
                    <a:bodyPr/>
                    <a:lstStyle/>
                    <a:p>
                      <a:pPr marL="0" algn="ctr" defTabSz="914400" rtl="0" eaLnBrk="1" latinLnBrk="0" hangingPunct="1"/>
                      <a:endParaRPr lang="de-DE" sz="1200" i="1" kern="1200" dirty="0">
                        <a:solidFill>
                          <a:schemeClr val="dk1"/>
                        </a:solidFill>
                        <a:latin typeface="+mn-lt"/>
                        <a:ea typeface="+mn-ea"/>
                        <a:cs typeface="+mn-cs"/>
                      </a:endParaRPr>
                    </a:p>
                  </a:txBody>
                  <a:tcPr anchor="ctr"/>
                </a:tc>
                <a:tc>
                  <a:txBody>
                    <a:bodyPr/>
                    <a:lstStyle/>
                    <a:p>
                      <a:pPr marL="0" algn="ctr" defTabSz="914400" rtl="0" eaLnBrk="1" latinLnBrk="0" hangingPunct="1"/>
                      <a:endParaRPr lang="de-DE" sz="1200" i="1" kern="1200" dirty="0">
                        <a:solidFill>
                          <a:schemeClr val="dk1"/>
                        </a:solidFill>
                        <a:latin typeface="+mn-lt"/>
                        <a:ea typeface="+mn-ea"/>
                        <a:cs typeface="+mn-cs"/>
                      </a:endParaRPr>
                    </a:p>
                  </a:txBody>
                  <a:tcPr anchor="ctr">
                    <a:solidFill>
                      <a:srgbClr val="F8F9FB"/>
                    </a:solidFill>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i="1" dirty="0">
                          <a:solidFill>
                            <a:schemeClr val="bg1"/>
                          </a:solidFill>
                        </a:rPr>
                        <a:t>4Wochenstunden</a:t>
                      </a:r>
                      <a:r>
                        <a:rPr lang="de-DE" sz="1200" i="1" baseline="0" dirty="0">
                          <a:solidFill>
                            <a:schemeClr val="bg1"/>
                          </a:solidFill>
                        </a:rPr>
                        <a:t> </a:t>
                      </a:r>
                      <a:r>
                        <a:rPr lang="de-DE" sz="1200" i="1" dirty="0" smtClean="0">
                          <a:solidFill>
                            <a:schemeClr val="bg1"/>
                          </a:solidFill>
                        </a:rPr>
                        <a:t>(Neigungsfach</a:t>
                      </a:r>
                      <a:r>
                        <a:rPr lang="de-DE" sz="1200" i="1" dirty="0">
                          <a:solidFill>
                            <a:schemeClr val="bg1"/>
                          </a:solidFill>
                        </a:rPr>
                        <a:t>)</a:t>
                      </a:r>
                    </a:p>
                    <a:p>
                      <a:pPr algn="ctr"/>
                      <a:endParaRPr lang="de-DE" sz="1200" i="1" dirty="0">
                        <a:solidFill>
                          <a:schemeClr val="bg1"/>
                        </a:solidFill>
                      </a:endParaRPr>
                    </a:p>
                  </a:txBody>
                  <a:tcPr anchor="ctr">
                    <a:solidFill>
                      <a:srgbClr val="7B8B9C"/>
                    </a:solidFill>
                  </a:tcPr>
                </a:tc>
                <a:tc hMerge="1">
                  <a:txBody>
                    <a:bodyPr/>
                    <a:lstStyle/>
                    <a:p>
                      <a:endParaRPr lang="de-DE" dirty="0"/>
                    </a:p>
                  </a:txBody>
                  <a:tcPr/>
                </a:tc>
                <a:tc hMerge="1">
                  <a:txBody>
                    <a:bodyPr/>
                    <a:lstStyle/>
                    <a:p>
                      <a:endParaRPr lang="de-DE" dirty="0"/>
                    </a:p>
                  </a:txBody>
                  <a:tcPr/>
                </a:tc>
                <a:tc>
                  <a:txBody>
                    <a:bodyPr/>
                    <a:lstStyle/>
                    <a:p>
                      <a:pPr algn="ctr"/>
                      <a:endParaRPr lang="de-DE" sz="1200" i="1" dirty="0"/>
                    </a:p>
                  </a:txBody>
                  <a:tcPr anchor="ctr">
                    <a:pattFill prst="wdUpDiag">
                      <a:fgClr>
                        <a:srgbClr val="7B8B9C"/>
                      </a:fgClr>
                      <a:bgClr>
                        <a:schemeClr val="bg1"/>
                      </a:bgClr>
                    </a:pattFill>
                  </a:tcPr>
                </a:tc>
                <a:tc>
                  <a:txBody>
                    <a:bodyPr/>
                    <a:lstStyle/>
                    <a:p>
                      <a:pPr algn="ctr"/>
                      <a:endParaRPr lang="de-DE" sz="1200" i="1" dirty="0"/>
                    </a:p>
                  </a:txBody>
                  <a:tcPr anchor="ctr">
                    <a:lnR w="12700" cap="flat" cmpd="sng" algn="ctr">
                      <a:solidFill>
                        <a:schemeClr val="tx1"/>
                      </a:solidFill>
                      <a:prstDash val="solid"/>
                      <a:round/>
                      <a:headEnd type="none" w="med" len="med"/>
                      <a:tailEnd type="none" w="med" len="med"/>
                    </a:lnR>
                    <a:pattFill prst="wdUpDiag">
                      <a:fgClr>
                        <a:srgbClr val="7B8B9C"/>
                      </a:fgClr>
                      <a:bgClr>
                        <a:schemeClr val="bg1"/>
                      </a:bgClr>
                    </a:pattFill>
                  </a:tcPr>
                </a:tc>
                <a:extLst>
                  <a:ext uri="{0D108BD9-81ED-4DB2-BD59-A6C34878D82A}">
                    <a16:rowId xmlns:a16="http://schemas.microsoft.com/office/drawing/2014/main" val="10004"/>
                  </a:ext>
                </a:extLst>
              </a:tr>
              <a:tr h="591974">
                <a:tc>
                  <a:txBody>
                    <a:bodyPr/>
                    <a:lstStyle/>
                    <a:p>
                      <a:r>
                        <a:rPr lang="de-DE" sz="1200" dirty="0"/>
                        <a:t>Spanisch </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endParaRPr lang="de-DE" sz="1200" i="1" dirty="0"/>
                    </a:p>
                  </a:txBody>
                  <a:tcPr anchor="ctr">
                    <a:lnB w="12700" cap="flat" cmpd="sng" algn="ctr">
                      <a:solidFill>
                        <a:schemeClr val="tx1"/>
                      </a:solidFill>
                      <a:prstDash val="solid"/>
                      <a:round/>
                      <a:headEnd type="none" w="med" len="med"/>
                      <a:tailEnd type="none" w="med" len="med"/>
                    </a:lnB>
                  </a:tcPr>
                </a:tc>
                <a:tc>
                  <a:txBody>
                    <a:bodyPr/>
                    <a:lstStyle/>
                    <a:p>
                      <a:pPr algn="ctr"/>
                      <a:endParaRPr lang="de-DE" sz="1200" i="1" dirty="0"/>
                    </a:p>
                  </a:txBody>
                  <a:tcPr anchor="ctr">
                    <a:lnB w="12700" cap="flat" cmpd="sng" algn="ctr">
                      <a:solidFill>
                        <a:schemeClr val="tx1"/>
                      </a:solidFill>
                      <a:prstDash val="solid"/>
                      <a:round/>
                      <a:headEnd type="none" w="med" len="med"/>
                      <a:tailEnd type="none" w="med" len="med"/>
                    </a:lnB>
                  </a:tcPr>
                </a:tc>
                <a:tc>
                  <a:txBody>
                    <a:bodyPr/>
                    <a:lstStyle/>
                    <a:p>
                      <a:pPr algn="ctr"/>
                      <a:endParaRPr lang="de-DE" sz="1200" i="1" dirty="0"/>
                    </a:p>
                  </a:txBody>
                  <a:tcPr anchor="ctr">
                    <a:lnB w="12700" cap="flat" cmpd="sng" algn="ctr">
                      <a:solidFill>
                        <a:schemeClr val="tx1"/>
                      </a:solidFill>
                      <a:prstDash val="solid"/>
                      <a:round/>
                      <a:headEnd type="none" w="med" len="med"/>
                      <a:tailEnd type="none" w="med" len="med"/>
                    </a:lnB>
                  </a:tcPr>
                </a:tc>
                <a:tc>
                  <a:txBody>
                    <a:bodyPr/>
                    <a:lstStyle/>
                    <a:p>
                      <a:pPr algn="ctr"/>
                      <a:endParaRPr lang="de-DE" sz="1200" i="1" dirty="0"/>
                    </a:p>
                  </a:txBody>
                  <a:tcPr anchor="ctr">
                    <a:lnB w="12700" cap="flat" cmpd="sng" algn="ctr">
                      <a:solidFill>
                        <a:schemeClr val="tx1"/>
                      </a:solidFill>
                      <a:prstDash val="solid"/>
                      <a:round/>
                      <a:headEnd type="none" w="med" len="med"/>
                      <a:tailEnd type="none" w="med" len="med"/>
                    </a:lnB>
                  </a:tcPr>
                </a:tc>
                <a:tc>
                  <a:txBody>
                    <a:bodyPr/>
                    <a:lstStyle/>
                    <a:p>
                      <a:pPr algn="ctr"/>
                      <a:endParaRPr lang="de-DE" sz="1200" i="1" dirty="0"/>
                    </a:p>
                  </a:txBody>
                  <a:tcPr anchor="ctr">
                    <a:lnB w="12700" cap="flat" cmpd="sng" algn="ctr">
                      <a:solidFill>
                        <a:schemeClr val="tx1"/>
                      </a:solidFill>
                      <a:prstDash val="solid"/>
                      <a:round/>
                      <a:headEnd type="none" w="med" len="med"/>
                      <a:tailEnd type="none" w="med" len="med"/>
                    </a:lnB>
                  </a:tcPr>
                </a:tc>
                <a:tc>
                  <a:txBody>
                    <a:bodyPr/>
                    <a:lstStyle/>
                    <a:p>
                      <a:pPr algn="ctr"/>
                      <a:endParaRPr lang="de-DE" sz="1200" i="1" dirty="0"/>
                    </a:p>
                  </a:txBody>
                  <a:tcPr anchor="ctr">
                    <a:lnB w="12700" cap="flat" cmpd="sng" algn="ctr">
                      <a:solidFill>
                        <a:schemeClr val="tx1"/>
                      </a:solidFill>
                      <a:prstDash val="solid"/>
                      <a:round/>
                      <a:headEnd type="none" w="med" len="med"/>
                      <a:tailEnd type="none" w="med" len="med"/>
                    </a:lnB>
                  </a:tcPr>
                </a:tc>
                <a:tc gridSpan="3">
                  <a:txBody>
                    <a:bodyPr/>
                    <a:lstStyle/>
                    <a:p>
                      <a:pPr algn="ctr"/>
                      <a:r>
                        <a:rPr lang="de-DE" sz="1200" i="1" dirty="0"/>
                        <a:t>4 Wochenstunden</a:t>
                      </a:r>
                    </a:p>
                    <a:p>
                      <a:pPr algn="ctr"/>
                      <a:r>
                        <a:rPr lang="de-DE" sz="1200" i="1" dirty="0"/>
                        <a:t>(Kurs</a:t>
                      </a:r>
                      <a:r>
                        <a:rPr lang="de-DE" sz="1200" i="1" baseline="0" dirty="0"/>
                        <a:t> neu </a:t>
                      </a:r>
                      <a:r>
                        <a:rPr lang="de-DE" sz="1200" i="1" baseline="0" dirty="0" smtClean="0"/>
                        <a:t>e</a:t>
                      </a:r>
                      <a:r>
                        <a:rPr lang="de-DE" sz="1200" i="1" dirty="0" smtClean="0"/>
                        <a:t>insetzend und weiterführend)</a:t>
                      </a:r>
                      <a:endParaRPr lang="de-DE" sz="1200" i="1" dirty="0"/>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60000"/>
                        <a:lumOff val="40000"/>
                      </a:schemeClr>
                    </a:solidFill>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10006"/>
                  </a:ext>
                </a:extLst>
              </a:tr>
            </a:tbl>
          </a:graphicData>
        </a:graphic>
      </p:graphicFrame>
      <p:sp>
        <p:nvSpPr>
          <p:cNvPr id="4" name="Textfeld 3"/>
          <p:cNvSpPr txBox="1"/>
          <p:nvPr/>
        </p:nvSpPr>
        <p:spPr>
          <a:xfrm flipH="1">
            <a:off x="52798" y="5223668"/>
            <a:ext cx="8425631" cy="221599"/>
          </a:xfrm>
          <a:prstGeom prst="rect">
            <a:avLst/>
          </a:prstGeom>
          <a:noFill/>
        </p:spPr>
        <p:txBody>
          <a:bodyPr wrap="square" lIns="0" tIns="0" rIns="0" bIns="0" rtlCol="0">
            <a:spAutoFit/>
          </a:bodyPr>
          <a:lstStyle/>
          <a:p>
            <a:pPr algn="ctr">
              <a:lnSpc>
                <a:spcPct val="90000"/>
              </a:lnSpc>
              <a:spcBef>
                <a:spcPts val="600"/>
              </a:spcBef>
              <a:spcAft>
                <a:spcPts val="0"/>
              </a:spcAft>
            </a:pPr>
            <a:r>
              <a:rPr lang="de-DE" sz="1600" b="1" dirty="0" smtClean="0">
                <a:solidFill>
                  <a:schemeClr val="accent5">
                    <a:lumMod val="75000"/>
                  </a:schemeClr>
                </a:solidFill>
              </a:rPr>
              <a:t>Neu</a:t>
            </a:r>
            <a:r>
              <a:rPr lang="de-DE" sz="1600" b="1" dirty="0" smtClean="0">
                <a:solidFill>
                  <a:schemeClr val="accent5">
                    <a:lumMod val="75000"/>
                  </a:schemeClr>
                </a:solidFill>
              </a:rPr>
              <a:t>: Englisch AG + </a:t>
            </a:r>
            <a:r>
              <a:rPr lang="de-DE" sz="1600" b="1" dirty="0" smtClean="0">
                <a:solidFill>
                  <a:schemeClr val="accent5">
                    <a:lumMod val="75000"/>
                  </a:schemeClr>
                </a:solidFill>
              </a:rPr>
              <a:t>bilingualer </a:t>
            </a:r>
            <a:r>
              <a:rPr lang="de-DE" sz="1600" b="1" dirty="0">
                <a:solidFill>
                  <a:schemeClr val="accent5">
                    <a:lumMod val="75000"/>
                  </a:schemeClr>
                </a:solidFill>
              </a:rPr>
              <a:t>Unterricht in </a:t>
            </a:r>
            <a:r>
              <a:rPr lang="de-DE" sz="1600" b="1" dirty="0" smtClean="0">
                <a:solidFill>
                  <a:schemeClr val="accent5">
                    <a:lumMod val="75000"/>
                  </a:schemeClr>
                </a:solidFill>
              </a:rPr>
              <a:t>GL </a:t>
            </a:r>
            <a:r>
              <a:rPr lang="de-DE" sz="1600" b="1" dirty="0">
                <a:solidFill>
                  <a:schemeClr val="accent5">
                    <a:lumMod val="75000"/>
                  </a:schemeClr>
                </a:solidFill>
              </a:rPr>
              <a:t>und </a:t>
            </a:r>
            <a:r>
              <a:rPr lang="de-DE" sz="1600" b="1" dirty="0" smtClean="0">
                <a:solidFill>
                  <a:schemeClr val="accent5">
                    <a:lumMod val="75000"/>
                  </a:schemeClr>
                </a:solidFill>
              </a:rPr>
              <a:t>NW </a:t>
            </a:r>
            <a:r>
              <a:rPr lang="de-DE" sz="1600" b="1" dirty="0">
                <a:solidFill>
                  <a:schemeClr val="accent5">
                    <a:lumMod val="75000"/>
                  </a:schemeClr>
                </a:solidFill>
              </a:rPr>
              <a:t>ab Klasse 7!</a:t>
            </a:r>
          </a:p>
        </p:txBody>
      </p:sp>
    </p:spTree>
    <p:extLst>
      <p:ext uri="{BB962C8B-B14F-4D97-AF65-F5344CB8AC3E}">
        <p14:creationId xmlns:p14="http://schemas.microsoft.com/office/powerpoint/2010/main" val="41722536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59234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feld 4"/>
          <p:cNvSpPr txBox="1"/>
          <p:nvPr/>
        </p:nvSpPr>
        <p:spPr>
          <a:xfrm>
            <a:off x="238628" y="1389612"/>
            <a:ext cx="8280920" cy="304699"/>
          </a:xfrm>
          <a:prstGeom prst="rect">
            <a:avLst/>
          </a:prstGeom>
          <a:noFill/>
        </p:spPr>
        <p:txBody>
          <a:bodyPr wrap="square" lIns="0" tIns="0" rIns="0" bIns="0" rtlCol="0">
            <a:spAutoFit/>
          </a:bodyPr>
          <a:lstStyle/>
          <a:p>
            <a:pPr>
              <a:lnSpc>
                <a:spcPct val="90000"/>
              </a:lnSpc>
              <a:spcBef>
                <a:spcPct val="0"/>
              </a:spcBef>
              <a:spcAft>
                <a:spcPts val="0"/>
              </a:spcAft>
            </a:pPr>
            <a:r>
              <a:rPr lang="de-DE" sz="2200" i="1" dirty="0">
                <a:solidFill>
                  <a:srgbClr val="92D050"/>
                </a:solidFill>
                <a:ea typeface="+mj-ea"/>
                <a:cs typeface="+mj-cs"/>
              </a:rPr>
              <a:t>Ausblick: Oberstufe </a:t>
            </a:r>
          </a:p>
        </p:txBody>
      </p:sp>
      <p:sp>
        <p:nvSpPr>
          <p:cNvPr id="10" name="Titel 2"/>
          <p:cNvSpPr>
            <a:spLocks noGrp="1"/>
          </p:cNvSpPr>
          <p:nvPr>
            <p:ph type="title"/>
          </p:nvPr>
        </p:nvSpPr>
        <p:spPr>
          <a:xfrm>
            <a:off x="250825" y="958443"/>
            <a:ext cx="8639999" cy="369332"/>
          </a:xfrm>
        </p:spPr>
        <p:txBody>
          <a:bodyPr/>
          <a:lstStyle/>
          <a:p>
            <a:pPr>
              <a:spcAft>
                <a:spcPct val="0"/>
              </a:spcAft>
            </a:pPr>
            <a:r>
              <a:rPr lang="en-US" sz="2400" b="1" dirty="0" err="1">
                <a:solidFill>
                  <a:srgbClr val="558ED5"/>
                </a:solidFill>
              </a:rPr>
              <a:t>Gesamtschulen</a:t>
            </a:r>
            <a:r>
              <a:rPr lang="en-US" sz="2400" b="1" dirty="0">
                <a:solidFill>
                  <a:srgbClr val="558ED5"/>
                </a:solidFill>
              </a:rPr>
              <a:t> </a:t>
            </a:r>
            <a:r>
              <a:rPr lang="en-US" sz="2400" b="1" dirty="0" err="1">
                <a:solidFill>
                  <a:srgbClr val="558ED5"/>
                </a:solidFill>
              </a:rPr>
              <a:t>als</a:t>
            </a:r>
            <a:r>
              <a:rPr lang="en-US" sz="2400" b="1" dirty="0">
                <a:solidFill>
                  <a:srgbClr val="558ED5"/>
                </a:solidFill>
              </a:rPr>
              <a:t> </a:t>
            </a:r>
            <a:r>
              <a:rPr lang="en-US" sz="2400" b="1" dirty="0" err="1">
                <a:solidFill>
                  <a:srgbClr val="558ED5"/>
                </a:solidFill>
              </a:rPr>
              <a:t>Schulform</a:t>
            </a:r>
            <a:r>
              <a:rPr lang="en-US" sz="2400" b="1" dirty="0">
                <a:solidFill>
                  <a:srgbClr val="558ED5"/>
                </a:solidFill>
              </a:rPr>
              <a:t>: </a:t>
            </a:r>
            <a:r>
              <a:rPr lang="en-US" sz="2400" b="1" dirty="0" err="1">
                <a:solidFill>
                  <a:srgbClr val="558ED5"/>
                </a:solidFill>
              </a:rPr>
              <a:t>Grundprinzipien</a:t>
            </a:r>
            <a:endParaRPr lang="de-DE" sz="2400" b="1" dirty="0">
              <a:solidFill>
                <a:srgbClr val="558ED5"/>
              </a:solidFill>
            </a:endParaRPr>
          </a:p>
        </p:txBody>
      </p:sp>
      <p:pic>
        <p:nvPicPr>
          <p:cNvPr id="11" name="Inhaltsplatzhalter 10"/>
          <p:cNvPicPr>
            <a:picLocks noGrp="1" noChangeAspect="1"/>
          </p:cNvPicPr>
          <p:nvPr>
            <p:ph idx="1"/>
          </p:nvPr>
        </p:nvPicPr>
        <p:blipFill>
          <a:blip r:embed="rId7"/>
          <a:stretch>
            <a:fillRect/>
          </a:stretch>
        </p:blipFill>
        <p:spPr>
          <a:xfrm>
            <a:off x="1651687" y="1755775"/>
            <a:ext cx="5839039" cy="4302125"/>
          </a:xfrm>
          <a:prstGeom prst="rect">
            <a:avLst/>
          </a:prstGeom>
        </p:spPr>
      </p:pic>
    </p:spTree>
    <p:extLst>
      <p:ext uri="{BB962C8B-B14F-4D97-AF65-F5344CB8AC3E}">
        <p14:creationId xmlns:p14="http://schemas.microsoft.com/office/powerpoint/2010/main" val="40036434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59234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feld 4"/>
          <p:cNvSpPr txBox="1"/>
          <p:nvPr/>
        </p:nvSpPr>
        <p:spPr>
          <a:xfrm>
            <a:off x="238628" y="1389612"/>
            <a:ext cx="8280920" cy="304699"/>
          </a:xfrm>
          <a:prstGeom prst="rect">
            <a:avLst/>
          </a:prstGeom>
          <a:noFill/>
        </p:spPr>
        <p:txBody>
          <a:bodyPr wrap="square" lIns="0" tIns="0" rIns="0" bIns="0" rtlCol="0">
            <a:spAutoFit/>
          </a:bodyPr>
          <a:lstStyle/>
          <a:p>
            <a:pPr>
              <a:lnSpc>
                <a:spcPct val="90000"/>
              </a:lnSpc>
              <a:spcBef>
                <a:spcPct val="0"/>
              </a:spcBef>
              <a:spcAft>
                <a:spcPts val="0"/>
              </a:spcAft>
            </a:pPr>
            <a:r>
              <a:rPr lang="de-DE" sz="2200" i="1" dirty="0">
                <a:solidFill>
                  <a:srgbClr val="92D050"/>
                </a:solidFill>
                <a:ea typeface="+mj-ea"/>
                <a:cs typeface="+mj-cs"/>
              </a:rPr>
              <a:t>Ausblick: Oberstufe </a:t>
            </a:r>
          </a:p>
        </p:txBody>
      </p:sp>
      <p:sp>
        <p:nvSpPr>
          <p:cNvPr id="10" name="Titel 2"/>
          <p:cNvSpPr>
            <a:spLocks noGrp="1"/>
          </p:cNvSpPr>
          <p:nvPr>
            <p:ph type="title"/>
          </p:nvPr>
        </p:nvSpPr>
        <p:spPr>
          <a:xfrm>
            <a:off x="250825" y="958443"/>
            <a:ext cx="8639999" cy="369332"/>
          </a:xfrm>
        </p:spPr>
        <p:txBody>
          <a:bodyPr/>
          <a:lstStyle/>
          <a:p>
            <a:pPr>
              <a:spcAft>
                <a:spcPct val="0"/>
              </a:spcAft>
            </a:pPr>
            <a:r>
              <a:rPr lang="en-US" sz="2400" b="1" dirty="0" err="1">
                <a:solidFill>
                  <a:srgbClr val="558ED5"/>
                </a:solidFill>
              </a:rPr>
              <a:t>Gesamtschulen</a:t>
            </a:r>
            <a:r>
              <a:rPr lang="en-US" sz="2400" b="1" dirty="0">
                <a:solidFill>
                  <a:srgbClr val="558ED5"/>
                </a:solidFill>
              </a:rPr>
              <a:t> </a:t>
            </a:r>
            <a:r>
              <a:rPr lang="en-US" sz="2400" b="1" dirty="0" err="1">
                <a:solidFill>
                  <a:srgbClr val="558ED5"/>
                </a:solidFill>
              </a:rPr>
              <a:t>als</a:t>
            </a:r>
            <a:r>
              <a:rPr lang="en-US" sz="2400" b="1" dirty="0">
                <a:solidFill>
                  <a:srgbClr val="558ED5"/>
                </a:solidFill>
              </a:rPr>
              <a:t> </a:t>
            </a:r>
            <a:r>
              <a:rPr lang="en-US" sz="2400" b="1" dirty="0" err="1">
                <a:solidFill>
                  <a:srgbClr val="558ED5"/>
                </a:solidFill>
              </a:rPr>
              <a:t>Schulform</a:t>
            </a:r>
            <a:r>
              <a:rPr lang="en-US" sz="2400" b="1" dirty="0">
                <a:solidFill>
                  <a:srgbClr val="558ED5"/>
                </a:solidFill>
              </a:rPr>
              <a:t>: </a:t>
            </a:r>
            <a:r>
              <a:rPr lang="en-US" sz="2400" b="1" dirty="0" err="1">
                <a:solidFill>
                  <a:srgbClr val="558ED5"/>
                </a:solidFill>
              </a:rPr>
              <a:t>Grundprinzipien</a:t>
            </a:r>
            <a:endParaRPr lang="de-DE" sz="2400" b="1" dirty="0">
              <a:solidFill>
                <a:srgbClr val="558ED5"/>
              </a:solidFill>
            </a:endParaRPr>
          </a:p>
        </p:txBody>
      </p:sp>
      <p:pic>
        <p:nvPicPr>
          <p:cNvPr id="3" name="Inhaltsplatzhalter 2"/>
          <p:cNvPicPr>
            <a:picLocks noGrp="1" noChangeAspect="1"/>
          </p:cNvPicPr>
          <p:nvPr>
            <p:ph idx="1"/>
          </p:nvPr>
        </p:nvPicPr>
        <p:blipFill>
          <a:blip r:embed="rId7"/>
          <a:stretch>
            <a:fillRect/>
          </a:stretch>
        </p:blipFill>
        <p:spPr>
          <a:xfrm>
            <a:off x="467544" y="1649074"/>
            <a:ext cx="8174194" cy="4444222"/>
          </a:xfrm>
          <a:prstGeom prst="rect">
            <a:avLst/>
          </a:prstGeom>
        </p:spPr>
      </p:pic>
    </p:spTree>
    <p:extLst>
      <p:ext uri="{BB962C8B-B14F-4D97-AF65-F5344CB8AC3E}">
        <p14:creationId xmlns:p14="http://schemas.microsoft.com/office/powerpoint/2010/main" val="23861051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59234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feld 4"/>
          <p:cNvSpPr txBox="1"/>
          <p:nvPr/>
        </p:nvSpPr>
        <p:spPr>
          <a:xfrm>
            <a:off x="238628" y="1389612"/>
            <a:ext cx="8280920" cy="304699"/>
          </a:xfrm>
          <a:prstGeom prst="rect">
            <a:avLst/>
          </a:prstGeom>
          <a:noFill/>
        </p:spPr>
        <p:txBody>
          <a:bodyPr wrap="square" lIns="0" tIns="0" rIns="0" bIns="0" rtlCol="0">
            <a:spAutoFit/>
          </a:bodyPr>
          <a:lstStyle/>
          <a:p>
            <a:pPr>
              <a:lnSpc>
                <a:spcPct val="90000"/>
              </a:lnSpc>
              <a:spcBef>
                <a:spcPct val="0"/>
              </a:spcBef>
              <a:spcAft>
                <a:spcPts val="0"/>
              </a:spcAft>
            </a:pPr>
            <a:r>
              <a:rPr lang="de-DE" sz="2200" i="1" dirty="0">
                <a:solidFill>
                  <a:srgbClr val="92D050"/>
                </a:solidFill>
                <a:ea typeface="+mj-ea"/>
                <a:cs typeface="+mj-cs"/>
              </a:rPr>
              <a:t>Ausblick: Oberstufe </a:t>
            </a:r>
          </a:p>
        </p:txBody>
      </p:sp>
      <p:sp>
        <p:nvSpPr>
          <p:cNvPr id="10" name="Titel 2"/>
          <p:cNvSpPr>
            <a:spLocks noGrp="1"/>
          </p:cNvSpPr>
          <p:nvPr>
            <p:ph type="title"/>
          </p:nvPr>
        </p:nvSpPr>
        <p:spPr>
          <a:xfrm>
            <a:off x="250825" y="958443"/>
            <a:ext cx="8639999" cy="369332"/>
          </a:xfrm>
        </p:spPr>
        <p:txBody>
          <a:bodyPr/>
          <a:lstStyle/>
          <a:p>
            <a:pPr>
              <a:spcAft>
                <a:spcPct val="0"/>
              </a:spcAft>
            </a:pPr>
            <a:r>
              <a:rPr lang="en-US" sz="2400" b="1" dirty="0" err="1">
                <a:solidFill>
                  <a:srgbClr val="558ED5"/>
                </a:solidFill>
              </a:rPr>
              <a:t>Gesamtschulen</a:t>
            </a:r>
            <a:r>
              <a:rPr lang="en-US" sz="2400" b="1" dirty="0">
                <a:solidFill>
                  <a:srgbClr val="558ED5"/>
                </a:solidFill>
              </a:rPr>
              <a:t> </a:t>
            </a:r>
            <a:r>
              <a:rPr lang="en-US" sz="2400" b="1" dirty="0" err="1">
                <a:solidFill>
                  <a:srgbClr val="558ED5"/>
                </a:solidFill>
              </a:rPr>
              <a:t>als</a:t>
            </a:r>
            <a:r>
              <a:rPr lang="en-US" sz="2400" b="1" dirty="0">
                <a:solidFill>
                  <a:srgbClr val="558ED5"/>
                </a:solidFill>
              </a:rPr>
              <a:t> </a:t>
            </a:r>
            <a:r>
              <a:rPr lang="en-US" sz="2400" b="1" dirty="0" err="1">
                <a:solidFill>
                  <a:srgbClr val="558ED5"/>
                </a:solidFill>
              </a:rPr>
              <a:t>Schulform</a:t>
            </a:r>
            <a:r>
              <a:rPr lang="en-US" sz="2400" b="1" dirty="0">
                <a:solidFill>
                  <a:srgbClr val="558ED5"/>
                </a:solidFill>
              </a:rPr>
              <a:t>: </a:t>
            </a:r>
            <a:r>
              <a:rPr lang="en-US" sz="2400" b="1" dirty="0" err="1">
                <a:solidFill>
                  <a:srgbClr val="558ED5"/>
                </a:solidFill>
              </a:rPr>
              <a:t>Grundprinzipien</a:t>
            </a:r>
            <a:endParaRPr lang="de-DE" sz="2400" b="1" dirty="0">
              <a:solidFill>
                <a:srgbClr val="558ED5"/>
              </a:solidFill>
            </a:endParaRPr>
          </a:p>
        </p:txBody>
      </p:sp>
      <p:pic>
        <p:nvPicPr>
          <p:cNvPr id="4" name="Inhaltsplatzhalter 3"/>
          <p:cNvPicPr>
            <a:picLocks noGrp="1" noChangeAspect="1"/>
          </p:cNvPicPr>
          <p:nvPr>
            <p:ph idx="1"/>
          </p:nvPr>
        </p:nvPicPr>
        <p:blipFill>
          <a:blip r:embed="rId7"/>
          <a:stretch>
            <a:fillRect/>
          </a:stretch>
        </p:blipFill>
        <p:spPr>
          <a:xfrm>
            <a:off x="0" y="1694311"/>
            <a:ext cx="4355976" cy="3606897"/>
          </a:xfrm>
          <a:prstGeom prst="rect">
            <a:avLst/>
          </a:prstGeom>
        </p:spPr>
      </p:pic>
      <p:pic>
        <p:nvPicPr>
          <p:cNvPr id="6" name="Grafik 5"/>
          <p:cNvPicPr>
            <a:picLocks noChangeAspect="1"/>
          </p:cNvPicPr>
          <p:nvPr/>
        </p:nvPicPr>
        <p:blipFill>
          <a:blip r:embed="rId8"/>
          <a:stretch>
            <a:fillRect/>
          </a:stretch>
        </p:blipFill>
        <p:spPr>
          <a:xfrm>
            <a:off x="4197209" y="1694309"/>
            <a:ext cx="4560967" cy="4395265"/>
          </a:xfrm>
          <a:prstGeom prst="rect">
            <a:avLst/>
          </a:prstGeom>
        </p:spPr>
      </p:pic>
      <p:pic>
        <p:nvPicPr>
          <p:cNvPr id="7" name="Grafik 6"/>
          <p:cNvPicPr>
            <a:picLocks noChangeAspect="1"/>
          </p:cNvPicPr>
          <p:nvPr/>
        </p:nvPicPr>
        <p:blipFill>
          <a:blip r:embed="rId9"/>
          <a:stretch>
            <a:fillRect/>
          </a:stretch>
        </p:blipFill>
        <p:spPr>
          <a:xfrm>
            <a:off x="2627784" y="5157192"/>
            <a:ext cx="1419225" cy="1543050"/>
          </a:xfrm>
          <a:prstGeom prst="rect">
            <a:avLst/>
          </a:prstGeom>
        </p:spPr>
      </p:pic>
    </p:spTree>
    <p:extLst>
      <p:ext uri="{BB962C8B-B14F-4D97-AF65-F5344CB8AC3E}">
        <p14:creationId xmlns:p14="http://schemas.microsoft.com/office/powerpoint/2010/main" val="40345677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3"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Inhaltsplatzhalter 2"/>
          <p:cNvSpPr>
            <a:spLocks noGrp="1"/>
          </p:cNvSpPr>
          <p:nvPr>
            <p:ph idx="1"/>
          </p:nvPr>
        </p:nvSpPr>
        <p:spPr>
          <a:xfrm>
            <a:off x="251189" y="2060848"/>
            <a:ext cx="8639636" cy="3825654"/>
          </a:xfrm>
        </p:spPr>
        <p:txBody>
          <a:bodyPr/>
          <a:lstStyle/>
          <a:p>
            <a:pPr marL="0" indent="-342900"/>
            <a:r>
              <a:rPr lang="de-DE" sz="1800" dirty="0">
                <a:solidFill>
                  <a:srgbClr val="3B434F"/>
                </a:solidFill>
              </a:rPr>
              <a:t>Teilnahme am Landesprogramm „Kein Abschluss ohne Anschluss“</a:t>
            </a:r>
          </a:p>
          <a:p>
            <a:pPr marL="0" indent="-342900"/>
            <a:r>
              <a:rPr lang="de-DE" sz="1800" dirty="0">
                <a:solidFill>
                  <a:srgbClr val="3B434F"/>
                </a:solidFill>
              </a:rPr>
              <a:t>Einstiegsinstrument und Berufsfelderkundung im Jahrgang 8</a:t>
            </a:r>
          </a:p>
          <a:p>
            <a:pPr marL="0" indent="-342900"/>
            <a:r>
              <a:rPr lang="de-DE" sz="1800" dirty="0">
                <a:solidFill>
                  <a:srgbClr val="3B434F"/>
                </a:solidFill>
              </a:rPr>
              <a:t>Projektwoche und Betriebspraktikum (3 Wochen) im Jahrgang 9</a:t>
            </a:r>
          </a:p>
          <a:p>
            <a:pPr marL="0" indent="-342900"/>
            <a:r>
              <a:rPr lang="de-DE" sz="1800" dirty="0">
                <a:solidFill>
                  <a:srgbClr val="3B434F"/>
                </a:solidFill>
              </a:rPr>
              <a:t>Besuche: Edeka </a:t>
            </a:r>
            <a:r>
              <a:rPr lang="de-DE" sz="1800" dirty="0" err="1">
                <a:solidFill>
                  <a:srgbClr val="3B434F"/>
                </a:solidFill>
              </a:rPr>
              <a:t>Bienemann</a:t>
            </a:r>
            <a:r>
              <a:rPr lang="de-DE" sz="1800" dirty="0">
                <a:solidFill>
                  <a:srgbClr val="3B434F"/>
                </a:solidFill>
              </a:rPr>
              <a:t>, </a:t>
            </a:r>
            <a:r>
              <a:rPr lang="de-DE" sz="1800" dirty="0" err="1">
                <a:solidFill>
                  <a:srgbClr val="3B434F"/>
                </a:solidFill>
              </a:rPr>
              <a:t>Trimet</a:t>
            </a:r>
            <a:r>
              <a:rPr lang="de-DE" sz="1800" dirty="0">
                <a:solidFill>
                  <a:srgbClr val="3B434F"/>
                </a:solidFill>
              </a:rPr>
              <a:t>, </a:t>
            </a:r>
            <a:r>
              <a:rPr lang="de-DE" sz="1800" dirty="0" err="1">
                <a:solidFill>
                  <a:srgbClr val="3B434F"/>
                </a:solidFill>
              </a:rPr>
              <a:t>Westnetz</a:t>
            </a:r>
            <a:r>
              <a:rPr lang="de-DE" sz="1800" dirty="0">
                <a:solidFill>
                  <a:srgbClr val="3B434F"/>
                </a:solidFill>
              </a:rPr>
              <a:t>, St. Vinzenz Hospital</a:t>
            </a:r>
          </a:p>
          <a:p>
            <a:pPr marL="0" indent="-342900"/>
            <a:r>
              <a:rPr lang="de-DE" sz="1800" dirty="0" err="1">
                <a:solidFill>
                  <a:srgbClr val="3B434F"/>
                </a:solidFill>
              </a:rPr>
              <a:t>Girl`s</a:t>
            </a:r>
            <a:r>
              <a:rPr lang="de-DE" sz="1800" dirty="0">
                <a:solidFill>
                  <a:srgbClr val="3B434F"/>
                </a:solidFill>
              </a:rPr>
              <a:t> / </a:t>
            </a:r>
            <a:r>
              <a:rPr lang="de-DE" sz="1800" dirty="0" err="1">
                <a:solidFill>
                  <a:srgbClr val="3B434F"/>
                </a:solidFill>
              </a:rPr>
              <a:t>Boy`s</a:t>
            </a:r>
            <a:r>
              <a:rPr lang="de-DE" sz="1800" dirty="0">
                <a:solidFill>
                  <a:srgbClr val="3B434F"/>
                </a:solidFill>
              </a:rPr>
              <a:t> – Day </a:t>
            </a:r>
          </a:p>
          <a:p>
            <a:pPr marL="0" indent="-342900"/>
            <a:r>
              <a:rPr lang="de-DE" sz="1800" dirty="0">
                <a:solidFill>
                  <a:srgbClr val="3B434F"/>
                </a:solidFill>
              </a:rPr>
              <a:t>Berufsmessen (</a:t>
            </a:r>
            <a:r>
              <a:rPr lang="de-DE" sz="1800" dirty="0" err="1">
                <a:solidFill>
                  <a:srgbClr val="3B434F"/>
                </a:solidFill>
              </a:rPr>
              <a:t>Vocatium</a:t>
            </a:r>
            <a:r>
              <a:rPr lang="de-DE" sz="1800" dirty="0">
                <a:solidFill>
                  <a:srgbClr val="3B434F"/>
                </a:solidFill>
              </a:rPr>
              <a:t> Duisburg)</a:t>
            </a:r>
          </a:p>
          <a:p>
            <a:pPr marL="0" indent="-342900"/>
            <a:r>
              <a:rPr lang="de-DE" sz="1800" dirty="0">
                <a:solidFill>
                  <a:srgbClr val="3B434F"/>
                </a:solidFill>
                <a:latin typeface="Arial" panose="020B0604020202020204" pitchFamily="34" charset="0"/>
                <a:cs typeface="Arial" panose="020B0604020202020204" pitchFamily="34" charset="0"/>
              </a:rPr>
              <a:t>Beratungsgespräche in der Schule </a:t>
            </a:r>
          </a:p>
          <a:p>
            <a:pPr marL="0" indent="-342900"/>
            <a:r>
              <a:rPr lang="de-DE" sz="1800" dirty="0">
                <a:solidFill>
                  <a:srgbClr val="3B434F"/>
                </a:solidFill>
                <a:latin typeface="Arial" panose="020B0604020202020204" pitchFamily="34" charset="0"/>
                <a:cs typeface="Arial" panose="020B0604020202020204" pitchFamily="34" charset="0"/>
              </a:rPr>
              <a:t>Bewerbungstraining</a:t>
            </a:r>
            <a:endParaRPr lang="de-DE" sz="2000" dirty="0">
              <a:solidFill>
                <a:prstClr val="black"/>
              </a:solidFill>
              <a:latin typeface="Arial" panose="020B0604020202020204" pitchFamily="34" charset="0"/>
              <a:cs typeface="Arial" panose="020B0604020202020204" pitchFamily="34" charset="0"/>
            </a:endParaRPr>
          </a:p>
          <a:p>
            <a:pPr marL="0" indent="0">
              <a:buNone/>
            </a:pPr>
            <a:endParaRPr lang="de-DE" sz="1800" dirty="0">
              <a:solidFill>
                <a:srgbClr val="3B434F"/>
              </a:solidFill>
            </a:endParaRPr>
          </a:p>
        </p:txBody>
      </p:sp>
      <p:sp>
        <p:nvSpPr>
          <p:cNvPr id="5" name="Textfeld 4"/>
          <p:cNvSpPr txBox="1"/>
          <p:nvPr/>
        </p:nvSpPr>
        <p:spPr>
          <a:xfrm>
            <a:off x="238628" y="1389612"/>
            <a:ext cx="8280920" cy="304699"/>
          </a:xfrm>
          <a:prstGeom prst="rect">
            <a:avLst/>
          </a:prstGeom>
          <a:noFill/>
        </p:spPr>
        <p:txBody>
          <a:bodyPr wrap="square" lIns="0" tIns="0" rIns="0" bIns="0" rtlCol="0">
            <a:spAutoFit/>
          </a:bodyPr>
          <a:lstStyle/>
          <a:p>
            <a:pPr>
              <a:lnSpc>
                <a:spcPct val="90000"/>
              </a:lnSpc>
              <a:spcBef>
                <a:spcPct val="0"/>
              </a:spcBef>
              <a:spcAft>
                <a:spcPts val="0"/>
              </a:spcAft>
            </a:pPr>
            <a:r>
              <a:rPr lang="de-DE" sz="2200" i="1" dirty="0">
                <a:solidFill>
                  <a:srgbClr val="92D050"/>
                </a:solidFill>
                <a:ea typeface="+mj-ea"/>
                <a:cs typeface="+mj-cs"/>
              </a:rPr>
              <a:t>Ausblick: Berufsorientierung</a:t>
            </a:r>
          </a:p>
        </p:txBody>
      </p:sp>
      <p:sp>
        <p:nvSpPr>
          <p:cNvPr id="10" name="Titel 2"/>
          <p:cNvSpPr>
            <a:spLocks noGrp="1"/>
          </p:cNvSpPr>
          <p:nvPr>
            <p:ph type="title"/>
          </p:nvPr>
        </p:nvSpPr>
        <p:spPr>
          <a:xfrm>
            <a:off x="250825" y="958443"/>
            <a:ext cx="8639999" cy="369332"/>
          </a:xfrm>
        </p:spPr>
        <p:txBody>
          <a:bodyPr/>
          <a:lstStyle/>
          <a:p>
            <a:pPr>
              <a:spcAft>
                <a:spcPct val="0"/>
              </a:spcAft>
            </a:pPr>
            <a:r>
              <a:rPr lang="en-US" sz="2400" b="1" dirty="0" err="1">
                <a:solidFill>
                  <a:srgbClr val="558ED5"/>
                </a:solidFill>
              </a:rPr>
              <a:t>Gesamtschulen</a:t>
            </a:r>
            <a:r>
              <a:rPr lang="en-US" sz="2400" b="1" dirty="0">
                <a:solidFill>
                  <a:srgbClr val="558ED5"/>
                </a:solidFill>
              </a:rPr>
              <a:t> </a:t>
            </a:r>
            <a:r>
              <a:rPr lang="en-US" sz="2400" b="1" dirty="0" err="1">
                <a:solidFill>
                  <a:srgbClr val="558ED5"/>
                </a:solidFill>
              </a:rPr>
              <a:t>als</a:t>
            </a:r>
            <a:r>
              <a:rPr lang="en-US" sz="2400" b="1" dirty="0">
                <a:solidFill>
                  <a:srgbClr val="558ED5"/>
                </a:solidFill>
              </a:rPr>
              <a:t> </a:t>
            </a:r>
            <a:r>
              <a:rPr lang="en-US" sz="2400" b="1" dirty="0" err="1">
                <a:solidFill>
                  <a:srgbClr val="558ED5"/>
                </a:solidFill>
              </a:rPr>
              <a:t>Schulform</a:t>
            </a:r>
            <a:r>
              <a:rPr lang="en-US" sz="2400" b="1" dirty="0">
                <a:solidFill>
                  <a:srgbClr val="558ED5"/>
                </a:solidFill>
              </a:rPr>
              <a:t>: </a:t>
            </a:r>
            <a:r>
              <a:rPr lang="en-US" sz="2400" b="1" dirty="0" err="1">
                <a:solidFill>
                  <a:srgbClr val="558ED5"/>
                </a:solidFill>
              </a:rPr>
              <a:t>Grundprinzipien</a:t>
            </a:r>
            <a:endParaRPr lang="de-DE" sz="2400" b="1" dirty="0">
              <a:solidFill>
                <a:srgbClr val="558ED5"/>
              </a:solidFill>
            </a:endParaRPr>
          </a:p>
        </p:txBody>
      </p:sp>
      <p:sp>
        <p:nvSpPr>
          <p:cNvPr id="2" name="AutoShape 14" descr="data:image/jpg;base64,/9j/4AAQSkZJRgABAQEAYABgAAD/2wBDAAUDBAQEAwUEBAQFBQUGBwwIBwcHBw8LCwkMEQ8SEhEPERETFhwXExQaFRERGCEYGh0dHx8fExciJCIeJBweHx7/2wBDAQUFBQcGBw4ICA4eFBEUHh4eHh4eHh4eHh4eHh4eHh4eHh4eHh4eHh4eHh4eHh4eHh4eHh4eHh4eHh4eHh4eHh7/wAARCACLAWs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pGpa8++PnjePwB8LNV1yOQC82fZrH/rtJwn5dfwoA+Zviy1z8b/ANoPUfD+m6v/AGfoXhy1mSfUfLaSK3WP/WybVIzmT5Bz/CTWL/wo/wAOf9Fmg/8ABBP/APF1v/CnSP8AhE/gpHcyf8hXxjN9pd/4/scZ+T/vs81LHHJJN5ccckkn/PNE3V8/j82lRrezpnHWxHLLlic5/wAKO8Of9Fmg/wDBBcf/ABdH/CkPDf8A0We3/wDBBcf/ABddJcWd9bf6yxuI/wDfgZd7f3RxyaS4sb62h8y5sbiOP++8DL/6EK4/7ZxH8pn9cqfynNf8KR8L/wDRZrf/AMEFx/8AF0f8KR8L/wDRZrf/AMEFx/8AF10a2N9JD5kdleyR/wB9IGb+lNm0/Uo/3kljexx/33gZf6VX9r4j+Un61U/lOc/4Un4X/wCi12//AIILj/4uj/hSfhf/AKLXb/8AgguP/i66FdP1KT95HY3skf8AfSBm/pUUNrc3P/HtbXEnl/f2QM2z67RV/wBs4j+UPrlT+Uw/+FK+F/8Aotdv/wCCC4/+Lo/4Ur4X/wCi12//AIILj/4uti4tbmOaOOS2uI5JPuI6Mu/6etF1Z31t+8ubG4t/9+Bl/wDQhVf2vW/lD65U/lMb/hS/hf8A6LXb/wDgguP/AIuk/wCFL+E/+i1W/wD4ILj/AOLrRamUv7Yq/wApP16RR/4Ux4T/AOi2W/8A4ILj/wCLo/4Ux4T/AOi2W/8A4ILj/wCLrVhsb65h8y2sb2SP++kDN/6CKguoLm2m8u5tpLeT+46Mv/oVaf2rW/lK+uVP5Sh/wpjwl/0Wy3/8EFx/8XR/wpvwn/0Wu3/8EFz/APF1fhsb65/eW1je3Ef99IGb/wBBFNurO9tofMubG4t4/wC/JAyp/wCPCq/tOt/KH1yp/KUP+FN+Ev8Aotlv/wCCC5/+Lo/4U94O/wCi3wf+CC5/+LqZqtw6Pq0kP2mPSdRkt/76Wrsn/fWKqOZ1pfZJ+vVP5TO/4U94O/6LfB/4ILn/AOLpv/Cn/B3/AEXC3/8ABBc//F09utT2NjfX3/HjY3Fx5f8AzwgaT/0EUf2lW/lH9eqfylX/AIU/4O/6Lhb/APgguf8A4uj/AIVD4O/6Lhb/APgguf8A4unXltc203l3NtcW8n9ydGjf/vlqkj03UpIfMttNvZI5PuOkDsj/AEZRVRzGt/KL69U/lIP+FQ+Df+i4W/8A4ILn/wCLo/4VF4N/6Lhb/wDgguf/AIupYdM1K5h8y2029kj/AL6QOyf99YqCG1uZJpI47a4kkj++iRszp/wFar6/U/lD69U/lF/4VH4J/wCi4W//AITtz/8AF0f8Kl8E/wDRcLf/AMJ25/8Ai6ZdWtzbf8fNtcW//XdGj/8AQqbb2tzc/u7a2uLj/rgjSf8AoNH1+p/KL69U/lJP+FSeCf8AouFv/wCE7c//ABdH/CpvBP8A0XC3/wDCduv/AIuo203UvO+zf2be+Zs37PIfft/vbcZxTLyzvrb/AI+bG4t/M+558DLv+m6q+vVP5Q+u1P5Sf/hU3gn/AKLpb/8AhO3P/wAXTf8AhU3gn/oulv8A+E7c/wDxdRWOm6lff8eOm3t7/wBcIGk/9BFQXUFzbTfZrm2uLeT+5OjRv/3y1X9dqfyi/tCp/KXP+FT+Cf8Aoutv/wCE7c//ABdN/wCFU+Cf+i623/hO3X/xdU7eCS5m+zW0clxJ/cgRmf8A75WpdS0zUtN/eX2m3tlHJ9zz4Hj/APQhT+t1P5Q+u1P5Sf8A4VV4F/6Lpb/+E7c//F1LpserfAL4j+GvFtlrR8Q+GdTh/wCP2CBoVu4eksRQsSHT5SoPcD/arHrs/Bi2PjTwre/CvVriO3+3v9o0G6cf8emoLyB/uSfMD/8AX40o4rmlyyNaOO5pcsj7W0bUrLVtMttT064juLO7iWaCRP41YZFX6+U/2K/H19p15qHwl8Uf6Ne6fJI+nRv95drfvbf/AICfmX2J9q+qlavQPRHUUUUAFFFFABRRRQAUUUUAJXyH+0zeXPxQ+Pvh74Q6dcSDTrB1k1F4/wCFmG+Rj6bIcAH1lr6d8e+JbLwl4O1XxJff8e9hbNN/vt/Cv4ttH418j/A8XsfhbxV8VdW/5Cvia5k07Tnf+7uzcSj23fJ/2zrCvW9jTlUJnLljzHReNtTttS16T7FH5enWiLZ6ckf3Et41wmP51pfB/wD5KNpf+83/AKAa5Ous+D//ACUbR/8Afb/0E18Ph6kqmKjKXVnlRlzVD3Pxxo/9rax4aj2Zjg1D7S//AGzQkf8Aj2K4n9pLVPL07TNFj/5byNcSf7q8D9Wz+FexsK+Zfjzc3Nx8RryG4j8uO3hjWH/dxu3f59K+nzK1GhKUep21/die2/CVf+Lb6N/16rXjnjD4rajreh6jo0mk2ccdxuh3pI277309q9k+Ef8AyTPQ/wDr1WvGvH/gnwxpOh3Oo6d4n+2Xe9f3PmI33m5+7zWGK9r7CHJ21Iq83s48p7D8JFj/AOFY6N/17f41w/7Ny/8AE48Vf9do/wCcldz8JP8AkmWjf9e3+NcL+zZ/yEvFX/XeP+cldFvfol/agbnxw0kyv4a1aOMF7TWbdH/3JJFH88fnWX+1Cv8AxSGlf9hIf+ipK9N1qztta0+Sy8wY85Tn+7JG4cfqlea/tSf8ihpX/YS/9pSVeNp8tGch1o+7KR880yn03b5n7v8A56fJXzENzyD6x+ClgLH4Z6NHs+/D5v8A30xb+teX/tV6f5esaNqUcf8ArIZIX/4CwI/9CNewXtwPDfgvT/8Aln5H2W3/AO+mRP61xH7Udj9o8F2d7/z6Xqn/AL6Uivp8TTj9W5ex61WP7nlHfsvL/wAUJef9f8n8lrsPDmrx+I9S8S6Ve6fAItMv/smD83nLsR8kf8CrkP2XP+RGvP8Ar/f/ANBWuu0Sxs9Fm8S6hpskuq3F3etcz2yPHvSTy0HlDcQBwF6nvWmGj+5gFH+GjxbwR4T0aP8AaF1HRXtkksNNaS4t4HG5UO2MoP8AgO/j6CvatW8SGw+IGieF47OMx6lbXEzz527PL6KB3r5z0zxte6B8Xr3xPqOmyRSSXLJe2v8AEkbYG3/fGFP+1ivojWbG18Y6DZ61oGox2+oRoz6dqKfN5LMMEEd1PQissJKMlKMe5GHlpKx4z+1JotjbeKtHuLZI4LnUopEn2fLvZWQB/r85/IV7H4kntfh98N7y80XTbcxaZbL5EH3Q/QfM39a+Z/iDqXjG58U22m+MbmSS8sJlSP8Adqvysw+YbeoOF5r6S+On/JIfEH/Xn/UUqLi5VZipy+OSMb49adZat8JrnUbm2j+028MdzC/8cTcZw3XvitT9n5f+LQeH/wDrjJ/6NevnDWviT4x1bQpdF1LUopNPkTZInkKvy/3d34V9H/s/f8kg8P8A/XGT/wBGtWlCrGtX5o9iqVSNSfukfwEX/i28f/X5df8Ao968x+A3/JePE3+5df8Ao8V7T8O9J07RfDUenaVqP9oW4nmfzsq3zM7Ej5eODxXi3wE/5Lx4l/3Lr/0eKuUdYDlHWA39sFf+Jx4d/wCuNx/6ElVf2RF/4rDXf+vCP/0Orn7Yf/IY8Pf9e1x/NKqfsgf8jhrv/XhH/wCjDXN/zFnN/wAxJ6Tqy/8AGS+j/wDYuyf+jWrj/wBrK3jutX8I2cn+quLpon/4EyD+tdlq3/Jy2j/9i9N/6NauI/a+lktrzw1cx/6yOSR0/wB5ShFdVb4H6m1b4Jep6n401G3+Hvw9kvtF0m28uzeGGO1/1a7WlWPt/vZrkf2mdJ02++GE2rXNvH9ss3jeCbjcu5gGGfQjtXQeB/FXh/4qeC7i3uoo/M2eXqFk/wB6FvUe3cGvEPj2/wAR/D80mg6vrUmoeHrt/wDRZ/IX51XkI+1eHH/j1FWUfZ83QqvKPs+boeqfsw6Lp9l8M7bVobaP7ZfvI882z5n2sQBn0+Wuk8G6pbfEDwddyatptt5Ul1dWckP+sRljlePPP+7mvL/2X/iBYx6fF4G1KT7PcI7Np7v92bdljH/vd/et34x6X418J6fJr3w+1F7ewDtNqGnJAjbGZsmVOOR13L+PrVU5fu1IVOUfZqUT5e1aCO21K9to/wDV280iJ/uqxFVoZJI5o5I5JI5I33o6fwMvIYUtxLJczSXMknmSSOzu/wDtNyahrzOp48viOs+KjX2r6bpXxs8LyfZtd0yaG319IE+5MuPKu9v9x14b/wCs1fXvwf8AHFj8Q/AWn+JLPEck6bbqDvDMvDofx/Qivj/4b+I7bQNekj1a2+0aFqcLWeqQfe3wt/F9U6/nW98INcuPgX8cbjwVrVyZPCuvPG9jfb/3Txyf8e9x+oR/7p56V6+Hre0ie3ha3tIn2orU6kWlroOoKKKKACiiigAooqlql7a6bptzqV7MLe2tYXmnkf7qRqMsT+AoA+Z/219fvtb1Lw18JtAlze6pdRzXSdf4sQq3tndIf+uYqp4wjstIOn+E9JP/ABKvDtmtjB/tyLzI59yf5Vy/wm1K48WfEfxl8btWjk+z2n+jaPG//PeXiNV944xlveT2q3I3mfvJP9Z83/16+bz/ABXuxoxOPF1PsjK6v4Pf8lF0j/eb/wBBNcpW58P9VstF8Xafq155n2eB237I9zfdIrwsJLlrRlI4qfxn1JeX0VrqNnaydbt2VP8AgK5rxf8AaW0ny9T0vWo4/wDXo1u/+8vI/TdVzxd8UPD97qWhX2myXg+wX/mz74GX92yMjf8AoVVPip4+8J+KPCMunWcl59tR1mg32zL8ynnn6Fh+NfS43EUa1GdPmR31akZRlE9H+Ex/4tpo3/XqtfK10v8Aplx/vt/6FXuHgP4peE9E8IadpN7JefaLeFUk2WrMm761zfi/WvhXc6FqMeg6S8eqyI3kP5Dr+8/OuXF+zq0ocs1ojKpyypx949a+Ef8AyTLRv+vYf1rhf2bP+Qx4p/67x/zko8CfFLwvongvTtJvZLz7Rbw7JNlqzJu571zHwf8AG+i+E7vXZNWluPLvJleDZAW+6z9cdOq10fWKV6XvF+0jeJ638P8AV/tPinxbpMn37PU96f7siD+qtXLftS/8ifpX/YQ/9pSVxfhzx7p2k/FzWfETm4Gj34bf+7+b7o2tt/3lI/GrHxt8f6D4t0CystJkvPNgvPOk86Bo/l2OP606uLjUw048wp1oypSPJa1vBVn/AGj410ay/wCe95Cn/Ad2T/46GrJauh+GeraboPjrT9V1bzBZ2gkb92m75thA4/GvEw38SPMedS+I+nPiLrnhzQNBiufEkfmWb3MaInk+Z+8+8vy+23P4Vm/Gq3j1b4T6rJGPM2QrcR/8BIb+VeQ/HXx9ovjHTtLs9FluPLgmkmn86Bo/4cD+bV1Fp8WPB8vw/j8P6lJqHnyaZ9kn/wBFZl3eVsbmvoqmMp1JTp+R6ntoycomt+y9/wAiHc/9f7/+grW38Lv+Rs8e/wDYcH/oiOvMvgl8RvDfg/wpLpmtSXn2mS5eX9zA0ny8d1rp/wDhcngLTfttxpOnXkl5dyedOiQeX5sm3G5yx9AKMPWp+zh7wqNSnyL3jEtNE0jXv2kvEWn6tYwXtsIN/luPl3eVBz+rfnXY2TW/hP4s6V4U0W2t7PRtSsJpprWMfKkykkOPThcH8K8O8P8Aj+9074mS+NLi3M8l4zC6hHaNsABf93Yv5e9exH4s/C+61G2166Mkeo28LJDJJYu0sSt1UMoK/rUYWtT97pqZ0akfe9TD/aqsrUXfhnUfL/0j7S0O/wDvLwdp/H+Zr0L46f8AJIvEH/XqP/QlrwT42fEK28a6lZx6bbyW+n2G50kf77yN/Ft7Dj9TXomlfGbwZr/hs6b4vt545JIQl1H5DSxS/TZzjvzVxrU3UnHm3HGpT5pxJvib4C8H6b8KNR1ay0Cyt7yOyR0njj+fd8vNdb+z7/yR/wAP/wDXGT/0a9eW/GD4uaLrXhWTw34YjnkjuNqTTzRtGqRr2QNyTxitD4XfFzwh4Y+H+l6HqUt/9qtYmEmy1Zl++T1/GqjUoxq+72CNSnGZ3/wBH/Ft4v8Ar9uv/Rz15f8AAT/kvHiX/cuv/R4q/wDCz4ueEPDfhGPSdSk1Dz/tNw42WrMu1pWI5/GuK+F3jfRPDnxN1rxHqUlz9ivPO8jy4Nz/ADSgjK9uBTlWp+57xMq0fcOk/bD/AOQz4e/69rj+aVV/ZBOPF+u/9eEf/oZro/FnxM+DXima2k17Try/kgRlh32j/Irdfun2rzbwl490jwX8UtR1rRbKT/hHbz9z5H3XSPghlB7ghuDWcpU41/acxE+WNb2nMe36vn/hpnR/X/hG5f8A0a1cn+1Wsc2u+DbeWPzI5L3Y6f31Z0BFbDfGH4USanF4kk8/+1I4PsySfYnaVY2bJTjjrXjvxl+JEvjbxHZXOm20lnZ6Z89r5+3e7bgd59Og4ratUp+zfvGlarT5H7x7J8TdH0X4baBb+KPCGkWWn6h/aFvDI8cf+tikfDofUH/Cug+O1rbaj8HNZkuYx8lstxH/ALEikYIrjLb40fDrxRocdl40s3jf928lvPaNLEZFOQykD1rC+M3xo0HxB4RuPDnhhLiX7X8k000Hlokat8wCtyenpV+0p8nujlUpxg+U6H4IeA/B+rfDPTta1Hw/ZXGofvH890+fcshwc+o2j8q7P4Ga9feKPhzb32rET3Hmz2zyf89VRygY+5FePfA/4xaT4Y8Njw54jt7gW8bt5E8CeZ8rHJV16+vSuvX40fDHwvor2fhi2nkALvHawWTW6+YzZOS4XGTzRCpTjFE0a1PlUj518fWsWm+PNdsbaPy7eDUJkRP7iq5xWDV7WL6TUtYvdSuf+Pi7mkuX/wB5mzVGvNkeVL4grtf7N/4WZ8MZPC/+s8VeGYZLvRP79xar/rLX3PoPpXE1b0PVb7RNYstW02Ty720mWaB/9pf4T7FdwPsa0o1PZy5i8PWlTqcx9Q/sh/FAeP8A4fRabqdx5mu6Qiwzn+KWH/lnL+m0+4r2+vh3xJqcfw7+Jvh742eErby/D2vOyajap/yymbm4tyvbOPMH+0tfaug6tY61otnq2m3K3FneRLNBIOjIwyDXtRlzH0MJc6ujQoooqhhRRRQAV87/ALa3jeTTPBNv4F0zMmq+JpFt/LT7/k7gCv8AwMlU/E177qN3b2NlcXt7IkNvbo0sjn+FVGS1fG/w/wBQk8ffFnxN8a9fj8zStFfytDtZPuvNgi3X/gA+c/7bE9qzqVI0480iZG/f6TbeDvB+heALaSOSTTE+06i6f8tryT7/AOWcVitU91PJczSXNzJ5kkjs7v8A32brUDV+fYrEfWK0pnk1Jc0uYbTeadXU/CS2jufiDpUVzH5ke9n/AOBKpIpUaftKkYmcI80uUq2fgPxhcxfaI9BvPLf7n3V/8dasPV9M1LSbv7PqNlJZ3H9x0219O+N9ZvdJ1nw1bWUkQj1DUPs8+9N3y7SePSuT/aXtLeTwjZXvljz47xUR/wDZZHyP0Fe7XyunCm5Rl7yO2eFjGL5TyGbwR4sjs/tsmgXn2eNPN3/L93rmmJ4K8VSaeNQj0K7ktDD5wmyu3btzu/KvpLWf+SXXP/YJb/0VUeif8kms/wDsCJ/6JrX+yKNvie1w+qxPmjRPCviLXrP7dpWlXF5b79u9Cv3qiuPDOvx67Hosmk3EeoSJvjtfl3OvPzfo35V7p+zIM/D+T/r8f+S1p+N9JH/C0vB2tx/3prST/v2XT/2f86inldOVKM+9iY4WPJzHzxqPhbXtO1Kz0290m4t7y7fZao+3963TitD/AIVx46/6Fu8/8d/xr1v4vcfFfwF/19D/ANDWui+NfiDVPDHgo6lpNzHb3H2mNN7xiT5WPPBq/wCz6MeeUpPQf1enrfofNHiHQNa0GWKPWtOks5Ljd5e/b8+3rWS1bvi7xZrXiuW3k1q5juJLdGRNkAj+Vm56f7tYTV5dTl5vd2OGXLze6aPh3w9revzXEeiabcXn2fbv2fwbs4/kfyqbX/CfiPQIY7nVtJuLOOR9iO+37392vaP2VbHy9C1nUv8AnveLD/wGNM/zdq6H9oqx+1fDK8mH/LrLHN/49g/+hV6lPLoyw/tPtHXHCx9nzHzb4e8P614jlkj0XTri8kt9rybNvybulLrvhbXtBms49W0m4s5Lt9kG/wDjbj5R+Yr1X9lH/kO67/17Q/8AoT133x60b+0fC1neRx/vLDU7ef8A4DvCN+jfpTo5fGpQ5/tEwwsZU+Y+cNf8H+J9Bs/t2q6LcWdvv2+Y+373pUegeDfFGvw/adJ0W8vLf+/91P8Avpute/8A7UP/ACTm3/6/4f5NXU65JJ4c+E1xdaBHHHJYaVvtE2blDKmRxWqwFPncexosLHmZ8peI/C3iPw55cmtaTcWcb/cd0+T/AL6Xiqmg6Hq3iC8+zaJptxeyfx+Qn3Pq3QV9T/EBxq3wVvLq8jjklk0xbjj/AJ6bQ2R+NZn7MVrbx/DKO5jjHmT3M29/7+1sCj6lH2yjHa1yPqkfacp8/av8PvGmk2cl7e+HbyO3QZd/lbb9dtZ3h7wxr3iLzP7B0m41D7Pt37NvybulfWvw61m816DWjqRic2erXFpHsTbiNcYB9a4f9nS3jtvFXjm3ji8uOPUdkaf3FV5MCtfqVPmj5jlhY80Tw2HwD4xk1G40mPQLyS8gRZp4Pl+RWztPXvg/lVS88JeJLbXrfQLnSbiPVbhN8Fr8u5159/Zvyr6q0Ef8Xs8Uf9gqx/nNXEeOf+TpfC3/AF5p/wC1qJYOMY/MmWFjy/M8K8R+DfFHhyzjuda0W4s7d32I77fvVn6Fo2ra9qP9naLZSXl5sZ9ibd21epr6R/a2/wCRE0//ALCC/wDoJry79l/n4vW//YPuP/ZKzqYeMa0aZlPDxVbkOQv/AAL4wstRs9OvdBu47y/dktYXK/vWX5jj5u1Q+JfBvijw5Zx3Ov6LcWdvI+xJH2/e/u/LX0/8TR/xdn4cf9fN5/6KSsT9rePzPBOlRf8APTU1T/x010SwceWRrLBxjGUj5+0DwJ4x1+z+06ToF5cW/wDz32bUf6butUvE/hXxH4c8v+3tFuNP3nCSOnyN/wAC6V9ifEi9vPCfws1W+8ORRR3Gm2W61Hl7kXbj+H6VkfHGGLUfgvqs1zHHJKllHcJ/sycc0SwcYxKlg4xifJvh7w3r/iOaS20XSbjUJI/v+QnyJ9W6CtHxB8O/Gui2cl9qXhy8t7ZPvyfLIi/Xb0r6c/Zqsbe3+E2nSxxjzLh5pZvVm3sOfyrX+Fmsaj4n8H3lxrwjeX+0Ly0dPL2/u0ndApH0GKccJHl94mngo8up8Q80yr2tRR22sajHH/q47mRE/wB1XOKo1xnnSEptOrs/h3Z6dptlqPxD8Rx+Zo3h3a8EP3ftt5/yyhHrztJqqceaXKVSpyqS5YlT4u3Eng34W6f8NMC517XrmHU9Uhxu+yKrDyYkHaRiq5PopHevfPhB8Idf0f4baLY6j408RafdiFpZbWznxDA0jtJsXIzxuwffNeQfsreDtW+KHxS1H4oeMP8AS7azufNG+P5Li8boq/8ATONe3+5719rV7sFyKx9FSXso8o+iiimUFJS1n63qdnpGj3mrX0nlW1nC007/AN1VGTQB8/8A7aXje6ttH074Z+Hd9xrviJ13wR/f8ndtVf8Ato/H0R653UtPtvCfhvRvh7ZSRyR6TDv1GdPu3F83Mr/8BNc/8Lr+48ZfEHxV8dNbj/0awmaz0SOT/nsy4RR/1zQg/V6uTSSSzSSSSeZJI7O8n99m6tXzee4zlj7GPU48TU+yRUxqfTGr5WJ542uw+DH/ACUfS/8Atp/6LNcfXYfBj/ko+l/9tP8A0Wa7cF/vEC6fxHsHxP8A+Rm8Ff8AYW/9kNZf7Sn/ACIdv/2EI/8A0B60/ief+Kq8E/8AYW/9kNZn7Sv/ACIlt/1/x/8AoElfWYj4Kh6M/hZ2j/Yv+EE/4mI2Wf2D9/7Ls56UzFl/wgf/ABLf+PL+zf8ARf8Arn5XydfaoNZ/5Jlc/wDYJb/0VUeif8kmsv8AsBp/6JFdHNpy+Rp/kct+zMf+Lfz/APX4/wD6Cteiotrq0VnexkSIj+dC/wCBH9a84/ZpP/Fv5/8Ar8f+S1sfBPVjqPhy9spHzJpupT23/Ad25f8A0LH4VnhKkfZQj5EUvhUTA+L3/JV/AX/X0P8A0Na7H4oL4Xk8Kn/hMHePTPOj/v8A+s/h+5zXHfF7/kq/gL/r6H/oxav/ALSreX8N/wDt8h/9CqZS5Y1pf1sTfl5zw34jJ4Tj1e3/AOEPkeTT/s3zu+//AFm58/fGemK5elVqRq+Yk/aS5jype9I+o/gVa/2b8JrKTvOk1z/30xI/8dxVu9H/AAknwQc/8tLvRt//AG08vP8A6EKvWM8fhP4ZwXEsfmR6fpqs6D+LavSn/DzxHbeMPCMerW1ibOOR5IvIfa2zaxHb/PNfW04x5FT8j2I/DynkX7Jjf8TjXf8Ar2t/5vXuc/2LW7S9sT+8jSRreYejLg/1FeK/sz2Z03xf4t01+toVh/75lkH9K7fwJrP/ABdjxroEsn/LaG8hH/bJEf8A9krHBS5aSjIih7sLGX+1CP8Ai3UH/X/F/Jqh+BfxHs9f06Lwvq0gTVbeHYm/7t3GvHHuBjK//Xqf9qT/AJJyn/X/ABfyar3xUhj074Q6jqVlHFb3lvZpLHPGiq6NxyDVS5o1pSj2JfMqjkeffHjwbrmiwyatouparJoUny3Vj9qdkt/ouceWfTt9K7/9mb/kldv/ANfM3/oVdDqjnUfhZPc3kYkkn0dnkH99vKzXPfsz/wDJK7P/AK+Zv/QqcacY4jmj1Q40+WqfP/i7xD4g0jxhr1tput6jZW/9oTPsgneNN24/Nt/75r1H9k2WSX/hJZJZZJJJJIXkkc7t7fPlq7P4Q2dncweJpLi2t5JP7fuvvordxWB+zynleMPH0WNmzU//AGeSsqVGUakJcxlGny1IyPRdOGg/8J3qn2V/+J79jt/tqfN/qcv5ft/f6V5f45/5Ol8Lf9eaf+1q7jQf+S2eKf8AsFWP/oUtcN45/wCTpPC3/Xmn/tauitL3fn+ptU+H5l39rf8A5EPTv+v9f/QTXl37L3/JX7f/AK8Lj/2SvUP2uT/xQenf9f6/+gmvL/2XG/4u1bf9eFx/7JXNV/3lfI5Kv+8xPavid/yVn4cf9fN5/wCikrC/a8/5EPSv+wgv/oDVu/E4/wDF2vhx/wBfN5/6KSsX9rP/AJE/Rv8AsKr/AOgmuup8EzpqfBMtfAv4l2XjTSD4d1Yx/wBs28O2RJB8l3H03rnr7ivOP2hPBfiTwwJNS0nWtVuPDNx8s1rJfSslo3oVzgx+n92vVfjykeifCvUdW0mOOzvbd7d4J4ECsjecnPFbfxJxe/CHWZLgb/M0lnP+9sz/ADpSp81PlkKVPmp8sjxD9m/4o2/h/wAvwfr0gjtJ5v8AQrr+CKRv4H9AT3967745+AtcvrSTxF4K1bUrK+j3PcWVrdPGl2vcqAcB+/vV/wCAWm6dc/BjSZZLK3kfy5vnkhVm/wBY/erv7OmpXmrfC6zn1G4kuJY7m4t1kf721JWUD8MfpThH92oSFSp/u1CR8ayNJJN5knmeZv8An3/f3d81DXQ/EaKO2+IXiGOP93HHqdwif99mueryuXlPHnHllyl7w/pN9r+sWeiabH5l5dzLCn/xR9h1+gq98UrmXxj4v0L4O+Acz6dpM32Tzk+5e3zcT3D/AOwnzfkf9mte41L/AIVf8MpPEn+r8VeJoWtNHT+K0s/+Wtz9TnA/4DXpv7EfwzGk6DJ8QtWize6mm3Tt/wDBb93/AOB+vp9a9TC0eWPNI9fA4f2ceaR7x8O/CemeCvB2m+GdJjxb2cOzeesr/wAbn6nmulHSkWlrsO4KKKKAE7V8z/to+LLy9g0b4S+GpDJquv3Mf2pE/wCee75EbHYn52/2U96+g/E+t2Hh/Qr/AFrVZDFZWELXEz+iqM8ep46V8gfCG5v/ABB4q8S/HjxHF/pEkjWOgwyfNsmbglfaKPj6l6yrVI06cqkuhMpcup1Gu2Vj4b0fS/AuiSx/2doMOx3T/lrdNzLKfX5jj86w6fI3mfvJP9Z/HTK/O8RiJYipKpLqeTUlzS5htMan0xqyiSNq1o2pXGi6vb6jZyZuIH3J/wDE1Wjjkkm8uOOSSST7iJ8z1u3Xhf8As2GKTxR4j8PeGpLj/UQ6pfeXK/r8vb8a7cPRrVJfuolRjKXwnpNr8bNOkhj/ALR0C4+0J/cdGXd7Z6VwfxL8fXnjTy7YW32LT4H3Im/c7t0yTWR/Z/hP/oqngX/wY/8A1qT+z/Cf/RVPAv8A4Mf/AK1etOOY1I8sonRL6xL3T0G9+MFjceFpNF/sW68ySz+z7/MX+5jNNsvi/Y2/hGLQf7GuvMjsFtN/mL/c2Zrz7+zfC/8A0VTwD/4Mf/rUf2X4X/6Kp4B/8GP/ANartmP8o/8AaDqPhd8Srfwf4bfSbjSrm8xOz+Yjqvp/e+lUvhx8Qv8AhE9Y1m+lspbi3v33+RHIvyNuJH/jprC/snwv/wBFU8A/+DH/AOtTW0fwv/0VTwD/AODH/wCtSjTxseXljsTy4g6fxn8SLbX/ABh4f1uPTbi3j0mffIjurb/nU8en3a6u5+Oei3Vv5Nx4VubhP7rvGy/+PV5T/Y3hf/orHgH/AMGP/wBaj+xPC/8A0VjwD/4Mf/rVrH6/GUpcu4f7QX/ij4v03xZLp0mnaL/Zcdukm/7nz7sY+79P1rkbeSOK8jkk/eRxurun99d33a3v7E8L/wDRWPAP/gx/+tR/Ynhf/orHgH/wY/8A1qweDxMpc0omEqNaUublO78d/GCy1/wheaLZaLc2fnx7N8jrsRazfhX8UrbwV4ck0m50m5vP9JaVHjdV27sfL830rlP7C8L/APRWPAH/AIMf/rUn9geF/wDorPgH/wAGP/1q6fZ43n5+U25cRzcx03hH4m6boPjTxDr39lXMlvq7q6Qxuu+LqTu/OqFv8Rfs3xYuPGsdjcfZ5/ke13ru27AOvTtmsX/hH/Df/RWPAP8A4MT/AIUn/CP+G/8AorHgH/wYn/Cl7LGfyitiOx1vxY+Ktj418NR6RHpNzZ/6Ss3mSSK33c8fL9a1fBPx0/s3SI9N17SZLzyEWFJ4HX51XjlTXnf/AAjvhz/orPgH/wAGJ/wpreG/Df8A0VnwD/4MT/hWvLjfac3KPlxHNzHefEL43f25oVxpWi6TJZ/ak8maad13BW7KBWB8Kfipe+CoZNNubL+0NLd9+yN9rwt32+orC/4Rnw3/ANFZ8A/+DE/4U3/hGfDn/RWfAP8A4MT/AIU5RxfNzC5cRzcx6jrPx+sk06SPQfDstvdyZw0+1U3HvhfvGuL+EvxOj8FTaxc6lZXGoSanIszyI6rsbnOd3uawP+EX8Of9FY+Hv/gxP+FH/CMeHP8AorHw9/8ABif8Krlxkpc3KEo4jm5jvdP+NllbeO9U8RnQb0x39nb2/kb13p5e85/HfWBr/wAT7XUvixpXjSPSblIrCFYfI3rvfG/v/wADrn/+EU8N/wDRWPh7/wCDE/4UjeFPDf8A0Vj4e/8AgxP+FVy4uQpRxB6vfftB6Dew+Xe+D7m4T+5I6N/MV5v4h+JGfiLZ+MPDGnJpf2SDyfssm0K/XIIXsQf0rO/4RLw5/wBFY+Hv/gxP+FDeE/Dn/RXPh7/4MT/hVSjiZClHESPW7T9orRZIY5L3wvefbI/7joyq3fDdq8v+L/xM1Lx9Nbx/ZvsWnWjs8ECPud2/vu3+72ql/wAIj4c/6K58Pf8AwYn/AApv/CH6B/0V34ef+DE/4UqkcTKPKKpHEyjynpfhH9oSK20SLT/Emiy3ssaKnnwY2Sqvcq3esj4p/HSXxJ4cuNA0XSZNPt7uPZPPO6s3l/xBVHA+tcU3g3QP+iu/D3/wYn/Cj/hDdB/6K78Pf/Bif8Kr/aeXlH/tXLynQ/CH4yXHgXTf7F1LTZNQ0vezwbH2yxbuq/N1rtNY/aOsY9Nkj0Hw3cJc/wAHnuiovvx1ryj/AIQvQP8Aor3w8/8ABif8Ka3gnQP+iu/D3/wYn/Cqj9YjHlCMcVGPLY5G+uZL68uL65k8y5uHaZ3/AL7M2TW98OdBtta16S51aT7P4e0mFr7V7p/lRLdedv1c8D/gXpWh/wAIXoH/AEV74ef+DE/4Vg/F7xBpOm+D9O+F3g7UrfWZLuZbzW77TpN0V3Nu/dQo3cDg49cUqOFqc37wijg6kqn7wn8I6Ze/tBfH6S5uY5I9Bs9u9PupaWMbYjhHoX5/M195WlvbWtvHa20aRQQoqRogwqKvAA9K80/Zq+G0Xw3+Htta3Maf21f7bnUXH/PTbwg9kHH5+teq16p7AUUUUAFI1LWJ4y1+y8L+F9Q1/UpPKs7CBppOf7vQfjQB88/tkeKNQ1rU9C+DvhuQSalq9zG92qfwqx/dqfbq59lqHxLDY6TZ6d4O0T/kFaDD9mT/AKazf8tJT7k7q5P4K/bdSu/FPx01/jVNTuZrPR9/8DNxI6/7iBYwf9mtDmvlc/x3L+4j8zjxVT7IxulMp9a8+hR6RpH9teMdWs/DWjf37r/Wzf7McK/Ox/2cV89h8PUr+7TiccacpfCYe2tq90Sy8P6ZHq3jnWrbw1p8nzxxznddTf7McXU/jXEav8aPLvDofwd8L3J1CT5E1S+g869ft+5i6R/5ytanw+/Zo8aeNNR/4SP4n6teae853Ok0wnv5v95skRr7ZJHotfT4PIox96r9x2U8L/MYOs/Gy9kvB4b+Dvhy4sJLj90moTx/adSuPXy05Ef5fL6LWl4e/Zh+JHjCGTW/GWtW+n6jcfPsvXe6uG/32zx9M19Y/D/4d+DfAlp9n8MaLb2bkfvJ8bp5f99zyayvj542sfAHw+udavrG5vbed1sXjtZljl/eZXcGPpXv06caceWMTsjHlPnv/hjjW/8AodtO/wDAF/8AGl/4Y51v/odtO/8AAV/8a9XuLnRPhf488C6bF/buq3HiKzj0WCSe+3JEsbb/ADXU/ec+Z19q7H4f/Eaz8WeJPFWifYzYSeHtT+wO8k6/6Q3qB/StQPnf/hjjW/8AodtO/wDAV/8AGj/hjjW/+h207/wFf/GvsCW4giH72WKP/fcLTvNTj94Pn+5QB8e/8Mca3/0O2nf+Ar/40f8ADHGt/wDQ7ad/4Cv/AI19f/arf93/AKTH+8/1fzj5/pSm4t/K83zo/L/v76APj/8A4Y41v/odtO/8BX/xo/4Y41v/AKHbTv8AwFf/ABr7AW4t/K8xJYvK/vhxtoS4t5Jdkcsbv6BqAPj/AP4Y41v/AKHbTv8AwFf/ABo/4Y41v/odtO/8BX/xr6/F3bf8/Mf39n3x97+7XO/E/wAZ6X4B8D6h4s1dJHtLQL+7jG5pWZgiKPqSKAPmL/hjjW/+h207/wABX/xo/wCGOdb/AOh207/wFf8Axr2HwD8aLzV/G2n+EvFngrUPC17q9t9r0t5p0mS4j6/w9DXri3Nu8vlC4i8z+55mW/75oA+Qv+GONb/6HbTv/AV/8aP+GONb/wCh207/AMBX/wAa+h/hZ8RbLx0PEAjsZNPOkatNpZSeZW85o/4h7V3bTxf89KAPj3/hjnW/+h207/wFf/Gj/hjjW/8AodtO/wDAV/8AGvojxP8AEWz8P/Ezwp4I/s6W4l8SpcPBdRyLsi8tS7ZHf8K7b7Vb+d9n82PzP+eefm/KgD5B/wCGONb/AOh207/wFf8Axo/4Y41v/odtO/8AAV/8a+x64L41fESL4Z+FbfxBcaTcaqJLyO0EEMio26TOOW47UAfOv/DHOt/9Dtp3/gK/+NH/AAxxrf8A0O2nf+Ar/wCNe4/Dv4u/8JJ47uPBOt+E9U8La7Ha/a0gvXSTzY+OQycd/wCdenrdW7yeV50fmf3N4JoA+P8A/hjjW/8AodtO/wDAV/8AGj/hjjW/+h207/wFf/GvsH7Rb/8APVKT7RF8n7yP5/ufN1oA+P8A/hjjW/8AodtO/wDAV/8AGj/hjnW/+h207/wFf/GvoHwR8S4vFnxH8S+FrHRLmO20CT7PPqLzpsebdjaqdfxrd/4SLUP+FgyeFz4b1BNOTT/tf9sbl+zl9wHleu/vQB8wf8Mc61/0O2n/APgI/wDjR/wxzrWP+R20/wD8BH/xr6/F1b+b5fmx7/TcM1h+PfFNl4P0M6rqEdw8AkWPbCAzZb60NmdSpGnHmlsfLn/DHOtf9Dtp3/gI/wDjR/wxzrX/AEO2n/8AgI/+NfSFp8QtEvPAlx4wthcSWduG86HYPNRl4Klc4zRB8RNGk8Oad4gNvefZ7/fsTYu9dpwdwz7VnzRM6eKpVJcsZdL/ACPm8/sc60D/AMjrp/8A4CP/AI0n/DHGtf8AQ7ad/wCAr/419JWvxF0WWeOOaC9tA52h54wq/wA6h8O/EjRta8aap4Ujtru31DTUZ5PORdrKpHK4PuppycYnbSoVKqlKnHbc+dP+GOda/wCh20//AMBH/wDiq674Ofsw/wDCHeO7HxJr2t22sRWO6SC2SAqPO/hc57Drj1Ar1T4f/Fbw7401fUNM02G8gksE3u86AKy5xxg1c+GPxC0n4hWN5eaTZ3sdvaSKm+dAu84zxg0o1YS+FnTWy3FUeb2kGuW1/K+33ncKtOoFFaHCFFFFAB2r5Z/a98Q6l4x8X+Hvgn4XkH2i/mWbUX+9s/55qfYDdIfolfQfxB8U6Z4K8Hap4o1aTy7awgZz6u3REHuzEAfWvl79n+wubrTfFXxw8Y6vZaVc6s8lvp19eyKq28bN+9lQt17RqP8AZPrUSfLEDb8T/wBm2MNn4X0T93o2gwrY2v8At7eJJT7l88/40L4ekttN/trxJqVl4e0b/n6vn27/APcTqxritf8AjJoGk3sWk/C7QZfEOuu+yDVL21MnzdP3FuvzOfc1qeFf2ffiX8RtSj8R/FnxBeW8b/OIJnEl19An+rh+gr52jk0q1SVbEy36HJHD83vSMbVvjRZWV5Honwl8N3Go6jJ8iaxqMHmSu396C3HT6n/vnvWp4R/Zz8feP9Sj8R/FXxBcWaSfPJG/767deuB/BF/49/u19NfDb4aeCvAFoYvDGh29tK/+sun/AHk8v1kPP4DiuzxXvUcPTox5acbHTGMYnH/Dr4b+DfAFn9m8N6LBbSEfPO/7yeX/AHnPJrsaWitygrwT9uv/AJIW/wD2FrX/ANCNe91yvxM8G6R4/wDB974X1vzPsdxtbfGcMjKcq49wRQB5D8em/wCLwfBL/sIN/wCgx14/418MadqWj/HDxbc/aP7U0TxAr6c6TsqwyeauW2rwWIfGfYV9B+DfgTZ6T4v0rxJr3jHxD4pudFTZpaai42WnGOMdaz/E37Ouk63ea7L/AMJb4hs7bX79bzVbKCQeVcKrb1Qr7HoaAPI/FsepeOviz9hvfDVx4u8jwhZzWtq+o/Z0tJJIgzXHzcbtzf5xTvFGj+JLjwr8E/C+ta1c2eo3GpzadPe2t2JJUhZymVcFgT5ZwM5xxXufjr4Kadr2vQa3oniTWfDV7Hpq6XM9jsb7RbquArb/AG4zU0HwU8N21l4EsrG9vbe38HXX2m0HysbiTduLOfc56etAHjmseC9Jvv2g7zwTfSXsmleFfAbTaX+/KvDIrxgS7lxz87Vk6DNoFx+zJ8NIvFEmu6rJPqd19k0HTpB/xNpvtMuEmZ+kYzzn9a7f9ozw1JJ8Rv7fsdD8fC9uNGktJL3w5B50V2v/AD7zbMvH9enArQ8CfBG51b4HeBdJ1++1Dw14l0Caa7hntdvm2zSyu+z06FfxFAHkUT6lpvwS+NGkSW8ej/YNZt9mnQTmSKy3TxkxI3cDpXW+F9HtfBPxrs/7AlvY/t/gGS+uvMmd2mmWIEMWbOf6V6lH8A9D/wCEU8W6BJ4g1m4i8TzR3F7PO4kl85WDF898sM/jXRP8MdKi8Y2Xiz7ReXFxYaG2kJa/KqTR7ccn1NAHyn4R0O1svAfwb8ZRSXP9s6941/4mknnv/pG26dBlc44EYH4n1r6q/aBh8H3Xwm1Wx8dajLp2jXbRxPdIjM8Uu8NGRjP8YHt2r5v8NfD3Wrjxr4M0XRfDnj6ystF8R/bp4Nbh8uy063WQSHy3X5JGfb1BPWvrD4jeENK8e+D73wvrccn2O8C/PGdroykMrj0IIFAHzx4U13xR8PfG2jeCfHMeneJbe702abwtr/l/6RCqoSF+bJx93gnIyOWrO+AXgzRdS8N+BfiRceKRoPiW48RXH2qeTdI+sr57p9l5cYyox0P0r1jwb8CdO0jxXZeI/EHizXfFVxplq1tpyajJ8ltG2Qdu3/ZOKi8L/s/6LoniPT75fEms3ulaRfyajpejz7Ps9rcNzvBAyeTmgD5x1fw/Y/8ACv8A4h+MibgaxpnxBeGxdJmVYla4AbA6Z+dufYV6nqk9zL8VPi5LJcyf8iVav9/+LykJavRrj4EaBceDvEXhhtW1AW2va5/bM8mxdySbxJsH+zkU3xl8CdJ8SeKr3X/+Eo17Szf6eunXsFrMFS5jUADPt8q8e1AHi/w/eSTxX+zbLJJI8h03Uvnf/rnJXJ/DzSfFHijQtK8bab4fk/t7/hJftM/iWfVRH50e877bY/b8f4eK+odD+C+h6TqPgS+i1LUZJPBsE1va79v71ZVIbf8An2rBj/Zz0CPWYv8Aio9Z/wCEdg1b+14NB+T7OlxzhgcZwNxGPSgDrfiN8Qtb8J6nZ2Wm/DzXvE0c9t5zz6ds2RNuI2HPfjP415p+1pqt1rXwD8PatLptzo17d6xaP9lugrS27fPw/bivo9Vrivi/8PdN+JHhqLw/qV7eWUcdzHdpNb7d++POOv8AvUAeD6SfFHhv9o/Uf+ExvbLWddu/Ckz6dqNqnkJbrGhbHle+zGc/zrhfg1oPijUrPwB410Xw/wDZ9Qk19ptR8RT6wqtqdv8AaHSSHym5OFGOp+6cda+lPA3wX0Tw/wCKrjxRqOua74l1ie2a0W61S68wpCy4Kj8OKxfDv7PWiaRrOlTN4o1m90LRdSbUdL0SbZ9nt585Dbsbjg81IHnXwv8AC0etfEj4p+KL7UtQ/wCKa1zUvsNqk/8Ao/mSJKpd17/I+Bjb0rnfCtxc/wDCvv2eZDcSfvNcut/zt867+/rX014J+HOkeF7zxbc217c3H/CT38l5dJJj5GkzlUx2+auF8L/s46Lol5oUp8WeIby30C9a50u0nkHlW6s2WQL7nbk+1UBkfsuaBpVj8WvitLa27xyWOtNZwfvGbbHljjmjxNLIP2t9dh8yXy/+EAuH2bzt3b05xXrPgPwDpvhLxF4p1qyvbm4k8RX/ANumSTG2Jv7qe3NVdS+GumXnxMvfHUl7efa7vRn0hoBt8pI2YEv654oA+UPhvo9tY+Hfgf4xtrm8/tnU9cuLS6ne6dt8KyuAmM8D5e3qa+mP2nP+SaP/ANfkX9aq6Z8D9B03w54K0SPVtR+z+EtQkvrV/l3TMzFir+3J6V3HxC8LWXjDw2+i3lxLbxl1ffHjd8v1qJx5ouJyY+i62GnTju0fN159o8F6Re6TJ5kmjeJdKWaH/Ym2j+R4P1X0rr9L8z/hU3g3y/8AWb7j/wBGmvTfEvw50XX/AAlYeHr2SXZYhPJuUx5ibVx+opbT4d6bb+G9K0T7bcG30zd5b8bn3NnmsKVGUZHk5dllbC4nml8FrLyOY8Z3GtXt3pdt4nsrfT7eSb79qu5/Q964f4uyp4D+NX9vf6q31bSJYv8Atpt2/wA9le8+KvDtr4gjt1uZJY/s7702Y/z2rnfiv8M9J+INpp9vqFxcW8lju2TQ437WABHPrgflV4mm5w93c+7yLHUsLif3/wADTT/r1PmzRTN8PotJ1rzfL/t3wzc4/wCuzOWVvyda9+/Zk0q20j4X6escifaLsNdTJvBZd3TP4Yq349+EmgeK9D0fTbi4ns00qLyoHhI+7tAxz/uik+Hfwi0XwV481bxZp2o3skupQeSbV8eVEuUPy/8AfArGhQlTn5HpZ1nlHHYTlh8bfveivb8z02loortPkwooooA+PP23PG1zrfiPT/hf4fjkvJIJFub2CCPzHlm2/u02rzwDu/KszwF+zn8QvG0Om3HxD1eXRtHsIFisrHd5k6R/3Uj+5F9eWPevpX4WeFvD+n2D+IrXS4BrGqzG4vr58yTTOzHOXYkgeijAHYCvQaAOL+G3w08HeALMW3hvSILeQ/6y6k/eXEv+855rs9tLRQAUUUUAFFFFABRRRQAUYoooAKTbS0UAGKKKKAE20tFFACbaXFFFABiiiigBNtLiiigAooooAKKKKACjFFFABRiiigApNtLRQAm2loooASilooAKSlooATbS0UUAFFFFABRRRQB//9k="/>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7" name="Grafik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38553" y="1252911"/>
            <a:ext cx="2305447" cy="882802"/>
          </a:xfrm>
          <a:prstGeom prst="rect">
            <a:avLst/>
          </a:prstGeom>
        </p:spPr>
      </p:pic>
      <p:pic>
        <p:nvPicPr>
          <p:cNvPr id="4" name="Grafik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0152" y="4012764"/>
            <a:ext cx="1944216" cy="1873738"/>
          </a:xfrm>
          <a:prstGeom prst="rect">
            <a:avLst/>
          </a:prstGeom>
        </p:spPr>
      </p:pic>
    </p:spTree>
    <p:extLst>
      <p:ext uri="{BB962C8B-B14F-4D97-AF65-F5344CB8AC3E}">
        <p14:creationId xmlns:p14="http://schemas.microsoft.com/office/powerpoint/2010/main" val="17025336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59234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Inhaltsplatzhalter 2"/>
          <p:cNvSpPr>
            <a:spLocks noGrp="1"/>
          </p:cNvSpPr>
          <p:nvPr>
            <p:ph idx="1"/>
          </p:nvPr>
        </p:nvSpPr>
        <p:spPr>
          <a:xfrm>
            <a:off x="173614" y="900146"/>
            <a:ext cx="8639636" cy="5184576"/>
          </a:xfrm>
        </p:spPr>
        <p:txBody>
          <a:bodyPr/>
          <a:lstStyle/>
          <a:p>
            <a:pPr marL="0" indent="0">
              <a:buNone/>
            </a:pPr>
            <a:endParaRPr lang="de-DE" sz="2400" b="1" i="1" dirty="0"/>
          </a:p>
          <a:p>
            <a:pPr marL="0" indent="0">
              <a:buNone/>
            </a:pPr>
            <a:r>
              <a:rPr lang="de-DE" sz="3600" i="1" dirty="0">
                <a:solidFill>
                  <a:srgbClr val="92D050"/>
                </a:solidFill>
              </a:rPr>
              <a:t> 		</a:t>
            </a:r>
          </a:p>
          <a:p>
            <a:pPr marL="0" indent="0">
              <a:buNone/>
            </a:pPr>
            <a:r>
              <a:rPr lang="de-DE" sz="3600" i="1" dirty="0">
                <a:solidFill>
                  <a:srgbClr val="92D050"/>
                </a:solidFill>
              </a:rPr>
              <a:t>		</a:t>
            </a:r>
            <a:r>
              <a:rPr lang="de-DE" sz="3600" b="1" i="1" dirty="0">
                <a:solidFill>
                  <a:srgbClr val="92D050"/>
                </a:solidFill>
              </a:rPr>
              <a:t>„Warum diese Schulform?“</a:t>
            </a:r>
          </a:p>
          <a:p>
            <a:pPr marL="0" indent="0">
              <a:buNone/>
            </a:pPr>
            <a:r>
              <a:rPr lang="de-DE" sz="3600" b="1" i="1" dirty="0">
                <a:solidFill>
                  <a:srgbClr val="92D050"/>
                </a:solidFill>
              </a:rPr>
              <a:t>     		 </a:t>
            </a:r>
            <a:r>
              <a:rPr lang="de-DE" sz="2400" b="1" i="1" dirty="0">
                <a:solidFill>
                  <a:srgbClr val="92D050"/>
                </a:solidFill>
              </a:rPr>
              <a:t>- Offenheit der Schullaufbahn </a:t>
            </a:r>
          </a:p>
          <a:p>
            <a:pPr marL="0" indent="0">
              <a:buNone/>
            </a:pPr>
            <a:r>
              <a:rPr lang="de-DE" sz="2400" b="1" i="1" dirty="0">
                <a:solidFill>
                  <a:srgbClr val="92D050"/>
                </a:solidFill>
              </a:rPr>
              <a:t>      		 - Vielzahl der Abschlüsse bis hin zum </a:t>
            </a:r>
            <a:r>
              <a:rPr lang="de-DE" sz="2400" b="1" i="1" dirty="0" smtClean="0">
                <a:solidFill>
                  <a:srgbClr val="92D050"/>
                </a:solidFill>
              </a:rPr>
              <a:t>Abitur</a:t>
            </a:r>
          </a:p>
          <a:p>
            <a:pPr marL="0" indent="0">
              <a:buNone/>
            </a:pPr>
            <a:r>
              <a:rPr lang="de-DE" sz="2400" b="1" i="1" dirty="0">
                <a:solidFill>
                  <a:srgbClr val="92D050"/>
                </a:solidFill>
              </a:rPr>
              <a:t> </a:t>
            </a:r>
            <a:r>
              <a:rPr lang="de-DE" sz="2400" b="1" i="1" dirty="0" smtClean="0">
                <a:solidFill>
                  <a:srgbClr val="92D050"/>
                </a:solidFill>
              </a:rPr>
              <a:t>                      </a:t>
            </a:r>
            <a:r>
              <a:rPr lang="de-DE" sz="2400" b="1" i="1" dirty="0" smtClean="0">
                <a:solidFill>
                  <a:srgbClr val="92D050"/>
                </a:solidFill>
                <a:sym typeface="Wingdings" panose="05000000000000000000" pitchFamily="2" charset="2"/>
              </a:rPr>
              <a:t> </a:t>
            </a:r>
            <a:r>
              <a:rPr lang="de-DE" sz="2400" b="1" i="1" dirty="0" smtClean="0">
                <a:solidFill>
                  <a:srgbClr val="92D050"/>
                </a:solidFill>
              </a:rPr>
              <a:t>bestmöglicher Abschluss</a:t>
            </a:r>
            <a:endParaRPr lang="de-DE" sz="2400" b="1" i="1" dirty="0">
              <a:solidFill>
                <a:srgbClr val="92D050"/>
              </a:solidFill>
            </a:endParaRPr>
          </a:p>
          <a:p>
            <a:pPr marL="0" indent="0">
              <a:buNone/>
            </a:pPr>
            <a:r>
              <a:rPr lang="de-DE" sz="2400" b="1" i="1" dirty="0">
                <a:solidFill>
                  <a:srgbClr val="92D050"/>
                </a:solidFill>
              </a:rPr>
              <a:t>         		 - Fokus Berufsorientierung </a:t>
            </a:r>
          </a:p>
          <a:p>
            <a:pPr marL="0" indent="0">
              <a:buNone/>
            </a:pPr>
            <a:r>
              <a:rPr lang="de-DE" sz="2400" b="1" i="1" dirty="0">
                <a:solidFill>
                  <a:srgbClr val="92D050"/>
                </a:solidFill>
              </a:rPr>
              <a:t>		 - </a:t>
            </a:r>
            <a:r>
              <a:rPr lang="de-DE" sz="2400" b="1" i="1" dirty="0" smtClean="0">
                <a:solidFill>
                  <a:srgbClr val="92D050"/>
                </a:solidFill>
              </a:rPr>
              <a:t>WP und Neigungsfach: </a:t>
            </a:r>
            <a:r>
              <a:rPr lang="de-DE" sz="2400" b="1" i="1" dirty="0">
                <a:solidFill>
                  <a:srgbClr val="92D050"/>
                </a:solidFill>
              </a:rPr>
              <a:t>Praxisorientierung</a:t>
            </a:r>
          </a:p>
          <a:p>
            <a:pPr marL="0" indent="0">
              <a:buNone/>
            </a:pPr>
            <a:r>
              <a:rPr lang="de-DE" sz="2400" b="1" i="1" dirty="0">
                <a:solidFill>
                  <a:srgbClr val="92D050"/>
                </a:solidFill>
              </a:rPr>
              <a:t>		 - Fokus Beratungs- und Beziehungsarbeit</a:t>
            </a:r>
          </a:p>
          <a:p>
            <a:pPr marL="0" indent="0">
              <a:buNone/>
            </a:pPr>
            <a:endParaRPr lang="de-DE" sz="3600" i="1" dirty="0">
              <a:solidFill>
                <a:srgbClr val="92D050"/>
              </a:solidFill>
            </a:endParaRPr>
          </a:p>
          <a:p>
            <a:pPr marL="0" indent="0">
              <a:buNone/>
            </a:pPr>
            <a:endParaRPr lang="de-DE" sz="2400" b="1" i="1" dirty="0">
              <a:solidFill>
                <a:prstClr val="black"/>
              </a:solidFill>
              <a:latin typeface="Arial" panose="020B0604020202020204" pitchFamily="34" charset="0"/>
              <a:cs typeface="Arial" panose="020B0604020202020204" pitchFamily="34" charset="0"/>
            </a:endParaRPr>
          </a:p>
          <a:p>
            <a:pPr marL="0" indent="0">
              <a:buNone/>
            </a:pPr>
            <a:endParaRPr lang="de-DE" sz="2400" b="1" i="1" dirty="0">
              <a:solidFill>
                <a:prstClr val="black"/>
              </a:solidFill>
              <a:latin typeface="Arial" panose="020B0604020202020204" pitchFamily="34" charset="0"/>
              <a:cs typeface="Arial" panose="020B0604020202020204" pitchFamily="34" charset="0"/>
            </a:endParaRPr>
          </a:p>
        </p:txBody>
      </p:sp>
      <p:sp>
        <p:nvSpPr>
          <p:cNvPr id="10" name="Titel 2"/>
          <p:cNvSpPr>
            <a:spLocks noGrp="1"/>
          </p:cNvSpPr>
          <p:nvPr>
            <p:ph type="title"/>
          </p:nvPr>
        </p:nvSpPr>
        <p:spPr>
          <a:xfrm>
            <a:off x="179512" y="908720"/>
            <a:ext cx="8639999" cy="369332"/>
          </a:xfrm>
        </p:spPr>
        <p:txBody>
          <a:bodyPr/>
          <a:lstStyle/>
          <a:p>
            <a:pPr>
              <a:spcAft>
                <a:spcPct val="0"/>
              </a:spcAft>
            </a:pPr>
            <a:r>
              <a:rPr lang="en-US" sz="2400" b="1" dirty="0" err="1">
                <a:solidFill>
                  <a:srgbClr val="558ED5"/>
                </a:solidFill>
              </a:rPr>
              <a:t>Gesamtschulen</a:t>
            </a:r>
            <a:r>
              <a:rPr lang="en-US" sz="2400" b="1" dirty="0">
                <a:solidFill>
                  <a:srgbClr val="558ED5"/>
                </a:solidFill>
              </a:rPr>
              <a:t> </a:t>
            </a:r>
            <a:r>
              <a:rPr lang="en-US" sz="2400" b="1" dirty="0" err="1">
                <a:solidFill>
                  <a:srgbClr val="558ED5"/>
                </a:solidFill>
              </a:rPr>
              <a:t>als</a:t>
            </a:r>
            <a:r>
              <a:rPr lang="en-US" sz="2400" b="1" dirty="0">
                <a:solidFill>
                  <a:srgbClr val="558ED5"/>
                </a:solidFill>
              </a:rPr>
              <a:t> </a:t>
            </a:r>
            <a:r>
              <a:rPr lang="en-US" sz="2400" b="1" dirty="0" err="1">
                <a:solidFill>
                  <a:srgbClr val="558ED5"/>
                </a:solidFill>
              </a:rPr>
              <a:t>Schulform</a:t>
            </a:r>
            <a:r>
              <a:rPr lang="en-US" sz="2400" b="1" dirty="0">
                <a:solidFill>
                  <a:srgbClr val="558ED5"/>
                </a:solidFill>
              </a:rPr>
              <a:t>: FAZIT</a:t>
            </a:r>
            <a:endParaRPr lang="de-DE" sz="2400" b="1" dirty="0">
              <a:solidFill>
                <a:srgbClr val="558ED5"/>
              </a:solidFill>
            </a:endParaRPr>
          </a:p>
        </p:txBody>
      </p:sp>
    </p:spTree>
    <p:extLst>
      <p:ext uri="{BB962C8B-B14F-4D97-AF65-F5344CB8AC3E}">
        <p14:creationId xmlns:p14="http://schemas.microsoft.com/office/powerpoint/2010/main" val="20005737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00476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Folie" r:id="rId8" imgW="270" imgH="270" progId="TCLayout.ActiveDocument.1">
                  <p:embed/>
                </p:oleObj>
              </mc:Choice>
              <mc:Fallback>
                <p:oleObj name="think-cell Folie" r:id="rId8" imgW="270" imgH="270" progId="TCLayout.ActiveDocument.1">
                  <p:embed/>
                  <p:pic>
                    <p:nvPicPr>
                      <p:cNvPr id="2" name="Objekt 1"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252498" y="908720"/>
            <a:ext cx="8639999" cy="369332"/>
          </a:xfrm>
        </p:spPr>
        <p:txBody>
          <a:bodyPr/>
          <a:lstStyle/>
          <a:p>
            <a:r>
              <a:rPr lang="en-US" sz="2400" b="1" dirty="0" err="1">
                <a:solidFill>
                  <a:srgbClr val="558ED5"/>
                </a:solidFill>
              </a:rPr>
              <a:t>Grundzüge</a:t>
            </a:r>
            <a:r>
              <a:rPr lang="en-US" sz="2400" b="1" dirty="0">
                <a:solidFill>
                  <a:srgbClr val="558ED5"/>
                </a:solidFill>
              </a:rPr>
              <a:t> des </a:t>
            </a:r>
            <a:r>
              <a:rPr lang="en-US" sz="2400" b="1" dirty="0" err="1">
                <a:solidFill>
                  <a:srgbClr val="558ED5"/>
                </a:solidFill>
              </a:rPr>
              <a:t>pädagogischen</a:t>
            </a:r>
            <a:r>
              <a:rPr lang="en-US" sz="2400" b="1" dirty="0">
                <a:solidFill>
                  <a:srgbClr val="558ED5"/>
                </a:solidFill>
              </a:rPr>
              <a:t> </a:t>
            </a:r>
            <a:r>
              <a:rPr lang="en-US" sz="2400" b="1" dirty="0" err="1">
                <a:solidFill>
                  <a:srgbClr val="558ED5"/>
                </a:solidFill>
              </a:rPr>
              <a:t>Konzeptes</a:t>
            </a:r>
            <a:endParaRPr lang="en-US" sz="2400" b="1" dirty="0">
              <a:solidFill>
                <a:srgbClr val="558ED5"/>
              </a:solidFill>
            </a:endParaRPr>
          </a:p>
        </p:txBody>
      </p:sp>
      <p:sp>
        <p:nvSpPr>
          <p:cNvPr id="7" name="Titel 2"/>
          <p:cNvSpPr txBox="1">
            <a:spLocks/>
          </p:cNvSpPr>
          <p:nvPr/>
        </p:nvSpPr>
        <p:spPr>
          <a:xfrm>
            <a:off x="252499" y="1340768"/>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Leitbild</a:t>
            </a:r>
            <a:r>
              <a:rPr lang="en-US" i="1" dirty="0">
                <a:solidFill>
                  <a:srgbClr val="7B8B9C"/>
                </a:solidFill>
              </a:rPr>
              <a:t> </a:t>
            </a:r>
            <a:r>
              <a:rPr lang="en-US" i="1" dirty="0">
                <a:solidFill>
                  <a:srgbClr val="92D050"/>
                </a:solidFill>
              </a:rPr>
              <a:t>der </a:t>
            </a:r>
            <a:r>
              <a:rPr lang="en-US" i="1" dirty="0" err="1">
                <a:solidFill>
                  <a:srgbClr val="92D050"/>
                </a:solidFill>
              </a:rPr>
              <a:t>Gesamtschule</a:t>
            </a:r>
            <a:r>
              <a:rPr lang="en-US" i="1" dirty="0">
                <a:solidFill>
                  <a:srgbClr val="92D050"/>
                </a:solidFill>
              </a:rPr>
              <a:t> </a:t>
            </a:r>
            <a:r>
              <a:rPr lang="en-US" i="1" dirty="0" err="1">
                <a:solidFill>
                  <a:srgbClr val="92D050"/>
                </a:solidFill>
              </a:rPr>
              <a:t>Hiesfeld</a:t>
            </a:r>
            <a:endParaRPr lang="en-US" i="1" dirty="0">
              <a:solidFill>
                <a:srgbClr val="92D050"/>
              </a:solidFill>
            </a:endParaRPr>
          </a:p>
        </p:txBody>
      </p:sp>
      <p:sp>
        <p:nvSpPr>
          <p:cNvPr id="4" name="Rechteck 3"/>
          <p:cNvSpPr/>
          <p:nvPr/>
        </p:nvSpPr>
        <p:spPr>
          <a:xfrm>
            <a:off x="1043608" y="2204864"/>
            <a:ext cx="6048672" cy="2800767"/>
          </a:xfrm>
          <a:prstGeom prst="rect">
            <a:avLst/>
          </a:prstGeom>
        </p:spPr>
        <p:txBody>
          <a:bodyPr wrap="square" lIns="91440" tIns="45720" rIns="91440" bIns="45720" anchor="t">
            <a:spAutoFit/>
          </a:bodyPr>
          <a:lstStyle/>
          <a:p>
            <a:r>
              <a:rPr lang="de-DE" sz="2200" i="1" dirty="0">
                <a:solidFill>
                  <a:srgbClr val="92D050"/>
                </a:solidFill>
              </a:rPr>
              <a:t>H</a:t>
            </a:r>
            <a:r>
              <a:rPr lang="de-DE" sz="2200" dirty="0"/>
              <a:t>alt und Struktur</a:t>
            </a:r>
          </a:p>
          <a:p>
            <a:r>
              <a:rPr lang="de-DE" sz="2200" i="1" dirty="0">
                <a:solidFill>
                  <a:srgbClr val="558ED5"/>
                </a:solidFill>
              </a:rPr>
              <a:t>I</a:t>
            </a:r>
            <a:r>
              <a:rPr lang="de-DE" sz="2200" dirty="0"/>
              <a:t>nnovativ und kreativ</a:t>
            </a:r>
          </a:p>
          <a:p>
            <a:r>
              <a:rPr lang="de-DE" sz="2200" i="1" dirty="0">
                <a:solidFill>
                  <a:srgbClr val="92D050"/>
                </a:solidFill>
              </a:rPr>
              <a:t>E</a:t>
            </a:r>
            <a:r>
              <a:rPr lang="de-DE" sz="2200" dirty="0"/>
              <a:t>rfolgreich sein</a:t>
            </a:r>
          </a:p>
          <a:p>
            <a:r>
              <a:rPr lang="de-DE" sz="2200" i="1" dirty="0">
                <a:solidFill>
                  <a:srgbClr val="558ED5"/>
                </a:solidFill>
              </a:rPr>
              <a:t>S</a:t>
            </a:r>
            <a:r>
              <a:rPr lang="de-DE" sz="2200" dirty="0"/>
              <a:t>portlich, gesund und nachhaltig</a:t>
            </a:r>
          </a:p>
          <a:p>
            <a:r>
              <a:rPr lang="de-DE" sz="2200" i="1" dirty="0">
                <a:solidFill>
                  <a:srgbClr val="92D050"/>
                </a:solidFill>
              </a:rPr>
              <a:t>F</a:t>
            </a:r>
            <a:r>
              <a:rPr lang="de-DE" sz="2200" dirty="0"/>
              <a:t>üreinander</a:t>
            </a:r>
          </a:p>
          <a:p>
            <a:r>
              <a:rPr lang="de-DE" sz="2200" i="1" dirty="0">
                <a:solidFill>
                  <a:srgbClr val="558ED5"/>
                </a:solidFill>
              </a:rPr>
              <a:t>E</a:t>
            </a:r>
            <a:r>
              <a:rPr lang="de-DE" sz="2200" dirty="0"/>
              <a:t>ngagiert und eigenverantwortlich</a:t>
            </a:r>
          </a:p>
          <a:p>
            <a:r>
              <a:rPr lang="de-DE" sz="2200" i="1" dirty="0">
                <a:solidFill>
                  <a:srgbClr val="92D050"/>
                </a:solidFill>
              </a:rPr>
              <a:t>L</a:t>
            </a:r>
            <a:r>
              <a:rPr lang="de-DE" sz="2200" dirty="0"/>
              <a:t>ust am Lernen</a:t>
            </a:r>
          </a:p>
          <a:p>
            <a:r>
              <a:rPr lang="de-DE" sz="2200" i="1" dirty="0">
                <a:solidFill>
                  <a:srgbClr val="558ED5"/>
                </a:solidFill>
              </a:rPr>
              <a:t>D</a:t>
            </a:r>
            <a:r>
              <a:rPr lang="de-DE" sz="2200" dirty="0"/>
              <a:t>u!</a:t>
            </a:r>
          </a:p>
        </p:txBody>
      </p:sp>
      <p:pic>
        <p:nvPicPr>
          <p:cNvPr id="6" name="Leitbild (1)">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252498" y="1742038"/>
            <a:ext cx="8639999" cy="4765338"/>
          </a:xfrm>
          <a:prstGeom prst="rect">
            <a:avLst/>
          </a:prstGeom>
        </p:spPr>
      </p:pic>
    </p:spTree>
    <p:extLst>
      <p:ext uri="{BB962C8B-B14F-4D97-AF65-F5344CB8AC3E}">
        <p14:creationId xmlns:p14="http://schemas.microsoft.com/office/powerpoint/2010/main" val="422386375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719444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1"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sp>
        <p:nvSpPr>
          <p:cNvPr id="19" name="Textplatzhalter 3"/>
          <p:cNvSpPr>
            <a:spLocks noGrp="1"/>
          </p:cNvSpPr>
          <p:nvPr>
            <p:ph type="body" sz="quarter" idx="12"/>
          </p:nvPr>
        </p:nvSpPr>
        <p:spPr>
          <a:xfrm>
            <a:off x="4788024" y="6525343"/>
            <a:ext cx="3767058" cy="80293"/>
          </a:xfrm>
        </p:spPr>
        <p:txBody>
          <a:bodyPr/>
          <a:lstStyle/>
          <a:p>
            <a:r>
              <a:rPr lang="en-US" dirty="0"/>
              <a:t>*NW = </a:t>
            </a:r>
            <a:r>
              <a:rPr lang="en-US" dirty="0" err="1"/>
              <a:t>Naturwissenschaften</a:t>
            </a:r>
            <a:r>
              <a:rPr lang="en-US" dirty="0"/>
              <a:t>;  HW/IF =  </a:t>
            </a:r>
            <a:r>
              <a:rPr lang="en-US" dirty="0" err="1"/>
              <a:t>Hauswirtschaft</a:t>
            </a:r>
            <a:r>
              <a:rPr lang="en-US" dirty="0"/>
              <a:t>/</a:t>
            </a:r>
            <a:r>
              <a:rPr lang="en-US" dirty="0" err="1"/>
              <a:t>Informatik</a:t>
            </a:r>
            <a:r>
              <a:rPr lang="en-US" dirty="0"/>
              <a:t>; </a:t>
            </a:r>
          </a:p>
          <a:p>
            <a:r>
              <a:rPr lang="en-US" dirty="0"/>
              <a:t>GL = </a:t>
            </a:r>
            <a:r>
              <a:rPr lang="en-US" dirty="0" err="1"/>
              <a:t>Gesellschaftslehre</a:t>
            </a:r>
            <a:r>
              <a:rPr lang="en-US" dirty="0"/>
              <a:t>  PU = </a:t>
            </a:r>
            <a:r>
              <a:rPr lang="en-US" dirty="0" err="1"/>
              <a:t>Projektunterricht</a:t>
            </a:r>
            <a:endParaRPr lang="en-US" dirty="0"/>
          </a:p>
        </p:txBody>
      </p:sp>
      <p:sp>
        <p:nvSpPr>
          <p:cNvPr id="14" name="Titel 2"/>
          <p:cNvSpPr>
            <a:spLocks noGrp="1"/>
          </p:cNvSpPr>
          <p:nvPr>
            <p:ph type="title"/>
          </p:nvPr>
        </p:nvSpPr>
        <p:spPr>
          <a:xfrm>
            <a:off x="251518" y="735728"/>
            <a:ext cx="8639999" cy="738664"/>
          </a:xfrm>
        </p:spPr>
        <p:txBody>
          <a:bodyPr/>
          <a:lstStyle/>
          <a:p>
            <a:pPr>
              <a:spcAft>
                <a:spcPct val="0"/>
              </a:spcAft>
            </a:pPr>
            <a:r>
              <a:rPr lang="de-DE" sz="2400" b="1" dirty="0">
                <a:solidFill>
                  <a:srgbClr val="558ED5"/>
                </a:solidFill>
              </a:rPr>
              <a:t>Gesamtschule </a:t>
            </a:r>
            <a:r>
              <a:rPr lang="de-DE" sz="2400" b="1" dirty="0" err="1">
                <a:solidFill>
                  <a:srgbClr val="558ED5"/>
                </a:solidFill>
              </a:rPr>
              <a:t>Hiesfeld</a:t>
            </a:r>
            <a:r>
              <a:rPr lang="de-DE" sz="2400" b="1" dirty="0">
                <a:solidFill>
                  <a:srgbClr val="558ED5"/>
                </a:solidFill>
              </a:rPr>
              <a:t> - Grundzüge des pädagogischen Konzepts</a:t>
            </a:r>
          </a:p>
        </p:txBody>
      </p:sp>
      <p:pic>
        <p:nvPicPr>
          <p:cNvPr id="4" name="Inhaltsplatzhalter 3"/>
          <p:cNvPicPr>
            <a:picLocks noGrp="1" noChangeAspect="1"/>
          </p:cNvPicPr>
          <p:nvPr>
            <p:ph idx="1"/>
          </p:nvPr>
        </p:nvPicPr>
        <p:blipFill>
          <a:blip r:embed="rId8"/>
          <a:stretch>
            <a:fillRect/>
          </a:stretch>
        </p:blipFill>
        <p:spPr>
          <a:xfrm>
            <a:off x="204390" y="1459849"/>
            <a:ext cx="8939610" cy="4618904"/>
          </a:xfrm>
          <a:prstGeom prst="rect">
            <a:avLst/>
          </a:prstGeom>
        </p:spPr>
      </p:pic>
      <p:sp>
        <p:nvSpPr>
          <p:cNvPr id="3" name="Textfeld 2"/>
          <p:cNvSpPr txBox="1"/>
          <p:nvPr/>
        </p:nvSpPr>
        <p:spPr>
          <a:xfrm>
            <a:off x="6228184" y="4581128"/>
            <a:ext cx="1296144" cy="326243"/>
          </a:xfrm>
          <a:prstGeom prst="rect">
            <a:avLst/>
          </a:prstGeom>
          <a:solidFill>
            <a:schemeClr val="bg1"/>
          </a:solidFill>
        </p:spPr>
        <p:txBody>
          <a:bodyPr wrap="square" lIns="0" tIns="0" rIns="0" bIns="0" rtlCol="0">
            <a:spAutoFit/>
          </a:bodyPr>
          <a:lstStyle/>
          <a:p>
            <a:pPr algn="ctr">
              <a:lnSpc>
                <a:spcPct val="90000"/>
              </a:lnSpc>
              <a:spcBef>
                <a:spcPts val="600"/>
              </a:spcBef>
              <a:spcAft>
                <a:spcPts val="0"/>
              </a:spcAft>
            </a:pPr>
            <a:r>
              <a:rPr lang="de-DE" sz="800" dirty="0" err="1" smtClean="0">
                <a:ea typeface="Calibri" panose="020F0502020204030204" pitchFamily="34" charset="0"/>
                <a:cs typeface="Calibri" panose="020F0502020204030204" pitchFamily="34" charset="0"/>
              </a:rPr>
              <a:t>SoLe</a:t>
            </a:r>
            <a:endParaRPr lang="de-DE" sz="800" dirty="0" smtClean="0">
              <a:ea typeface="Calibri" panose="020F0502020204030204" pitchFamily="34" charset="0"/>
              <a:cs typeface="Calibri" panose="020F0502020204030204" pitchFamily="34" charset="0"/>
            </a:endParaRPr>
          </a:p>
          <a:p>
            <a:pPr algn="ctr">
              <a:lnSpc>
                <a:spcPct val="90000"/>
              </a:lnSpc>
              <a:spcBef>
                <a:spcPts val="600"/>
              </a:spcBef>
              <a:spcAft>
                <a:spcPts val="0"/>
              </a:spcAft>
            </a:pPr>
            <a:endParaRPr lang="de-DE" sz="1000" dirty="0" smtClean="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722144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2000" y="1124744"/>
            <a:ext cx="8639999" cy="369332"/>
          </a:xfrm>
        </p:spPr>
        <p:txBody>
          <a:bodyPr/>
          <a:lstStyle/>
          <a:p>
            <a:r>
              <a:rPr lang="de-DE" sz="2400" b="1" dirty="0"/>
              <a:t>Informationsabend</a:t>
            </a:r>
            <a:endParaRPr lang="de-DE" sz="2400" b="1" dirty="0">
              <a:solidFill>
                <a:srgbClr val="558ED5"/>
              </a:solidFill>
            </a:endParaRPr>
          </a:p>
        </p:txBody>
      </p:sp>
      <p:graphicFrame>
        <p:nvGraphicFramePr>
          <p:cNvPr id="4" name="Inhaltsplatzhalter 3"/>
          <p:cNvGraphicFramePr>
            <a:graphicFrameLocks noGrp="1"/>
          </p:cNvGraphicFramePr>
          <p:nvPr>
            <p:ph idx="1"/>
            <p:extLst>
              <p:ext uri="{D42A27DB-BD31-4B8C-83A1-F6EECF244321}">
                <p14:modId xmlns:p14="http://schemas.microsoft.com/office/powerpoint/2010/main" val="3156720153"/>
              </p:ext>
            </p:extLst>
          </p:nvPr>
        </p:nvGraphicFramePr>
        <p:xfrm>
          <a:off x="395376" y="1628800"/>
          <a:ext cx="8496300" cy="4297680"/>
        </p:xfrm>
        <a:graphic>
          <a:graphicData uri="http://schemas.openxmlformats.org/drawingml/2006/table">
            <a:tbl>
              <a:tblPr firstRow="1" bandRow="1">
                <a:tableStyleId>{5C22544A-7EE6-4342-B048-85BDC9FD1C3A}</a:tableStyleId>
              </a:tblPr>
              <a:tblGrid>
                <a:gridCol w="432296">
                  <a:extLst>
                    <a:ext uri="{9D8B030D-6E8A-4147-A177-3AD203B41FA5}">
                      <a16:colId xmlns:a16="http://schemas.microsoft.com/office/drawing/2014/main" val="20000"/>
                    </a:ext>
                  </a:extLst>
                </a:gridCol>
                <a:gridCol w="8064004">
                  <a:extLst>
                    <a:ext uri="{9D8B030D-6E8A-4147-A177-3AD203B41FA5}">
                      <a16:colId xmlns:a16="http://schemas.microsoft.com/office/drawing/2014/main" val="20001"/>
                    </a:ext>
                  </a:extLst>
                </a:gridCol>
              </a:tblGrid>
              <a:tr h="370840">
                <a:tc>
                  <a:txBody>
                    <a:bodyPr/>
                    <a:lstStyle/>
                    <a:p>
                      <a:endParaRPr lang="de-DE" dirty="0">
                        <a:solidFill>
                          <a:srgbClr val="3B434F"/>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lvl="0" indent="0">
                        <a:buNone/>
                      </a:pPr>
                      <a:endParaRPr lang="de-DE" dirty="0">
                        <a:solidFill>
                          <a:srgbClr val="3B434F"/>
                        </a:solidFill>
                      </a:endParaRPr>
                    </a:p>
                    <a:p>
                      <a:pPr marL="0" lvl="0" indent="0">
                        <a:buNone/>
                      </a:pPr>
                      <a:r>
                        <a:rPr lang="de-DE" dirty="0">
                          <a:solidFill>
                            <a:srgbClr val="3B434F"/>
                          </a:solidFill>
                        </a:rPr>
                        <a:t>1. Wer?           Unser</a:t>
                      </a:r>
                      <a:r>
                        <a:rPr lang="de-DE" baseline="0" dirty="0">
                          <a:solidFill>
                            <a:srgbClr val="3B434F"/>
                          </a:solidFill>
                        </a:rPr>
                        <a:t> Team stellt sich vor!</a:t>
                      </a:r>
                      <a:endParaRPr lang="de-DE" dirty="0"/>
                    </a:p>
                    <a:p>
                      <a:pPr lvl="0">
                        <a:buNone/>
                      </a:pPr>
                      <a:r>
                        <a:rPr lang="de-DE" dirty="0">
                          <a:solidFill>
                            <a:srgbClr val="3B434F"/>
                          </a:solidFill>
                        </a:rPr>
                        <a:t>2. Wo?            </a:t>
                      </a:r>
                      <a:r>
                        <a:rPr lang="de-DE" baseline="0" dirty="0">
                          <a:solidFill>
                            <a:srgbClr val="3B434F"/>
                          </a:solidFill>
                        </a:rPr>
                        <a:t> </a:t>
                      </a:r>
                      <a:r>
                        <a:rPr lang="de-DE" dirty="0">
                          <a:solidFill>
                            <a:srgbClr val="3B434F"/>
                          </a:solidFill>
                        </a:rPr>
                        <a:t>Informationen zum </a:t>
                      </a:r>
                      <a:r>
                        <a:rPr lang="de-DE" dirty="0" smtClean="0">
                          <a:solidFill>
                            <a:srgbClr val="3B434F"/>
                          </a:solidFill>
                        </a:rPr>
                        <a:t>Neubau/Umbau</a:t>
                      </a:r>
                      <a:endParaRPr lang="de-DE" dirty="0"/>
                    </a:p>
                    <a:p>
                      <a:pPr lvl="0">
                        <a:buNone/>
                      </a:pPr>
                      <a:r>
                        <a:rPr lang="de-DE" dirty="0">
                          <a:solidFill>
                            <a:srgbClr val="3B434F"/>
                          </a:solidFill>
                        </a:rPr>
                        <a:t>3. Was?</a:t>
                      </a:r>
                      <a:r>
                        <a:rPr lang="de-DE" baseline="0" dirty="0">
                          <a:solidFill>
                            <a:srgbClr val="3B434F"/>
                          </a:solidFill>
                        </a:rPr>
                        <a:t>           </a:t>
                      </a:r>
                      <a:r>
                        <a:rPr lang="de-DE" dirty="0" smtClean="0">
                          <a:solidFill>
                            <a:srgbClr val="3B434F"/>
                          </a:solidFill>
                        </a:rPr>
                        <a:t>Gesamtschule als Schulform</a:t>
                      </a:r>
                      <a:endParaRPr lang="de-DE" dirty="0"/>
                    </a:p>
                    <a:p>
                      <a:pPr lvl="0">
                        <a:buNone/>
                      </a:pPr>
                      <a:endParaRPr lang="de-DE" dirty="0">
                        <a:solidFill>
                          <a:srgbClr val="3B434F"/>
                        </a:solidFill>
                      </a:endParaRPr>
                    </a:p>
                    <a:p>
                      <a:pPr lvl="0">
                        <a:buNone/>
                      </a:pPr>
                      <a:endParaRPr lang="de-DE" dirty="0">
                        <a:solidFill>
                          <a:srgbClr val="3B434F"/>
                        </a:solidFill>
                      </a:endParaRPr>
                    </a:p>
                    <a:p>
                      <a:pPr lvl="0">
                        <a:buNone/>
                      </a:pPr>
                      <a:r>
                        <a:rPr lang="de-DE" dirty="0">
                          <a:solidFill>
                            <a:srgbClr val="3B434F"/>
                          </a:solidFill>
                        </a:rPr>
                        <a:t>a</a:t>
                      </a:r>
                      <a:r>
                        <a:rPr lang="de-DE" dirty="0" smtClean="0">
                          <a:solidFill>
                            <a:srgbClr val="3B434F"/>
                          </a:solidFill>
                        </a:rPr>
                        <a:t>. </a:t>
                      </a:r>
                      <a:r>
                        <a:rPr lang="de-DE" dirty="0">
                          <a:solidFill>
                            <a:srgbClr val="3B434F"/>
                          </a:solidFill>
                        </a:rPr>
                        <a:t>Allgemein:  </a:t>
                      </a:r>
                      <a:r>
                        <a:rPr lang="de-DE" baseline="0" dirty="0" smtClean="0">
                          <a:solidFill>
                            <a:srgbClr val="3B434F"/>
                          </a:solidFill>
                        </a:rPr>
                        <a:t>Grundprinzipien der Gesamtschule</a:t>
                      </a:r>
                      <a:endParaRPr lang="de-DE" dirty="0"/>
                    </a:p>
                    <a:p>
                      <a:endParaRPr lang="de-DE" baseline="0" dirty="0">
                        <a:solidFill>
                          <a:srgbClr val="3B434F"/>
                        </a:solidFill>
                      </a:endParaRPr>
                    </a:p>
                    <a:p>
                      <a:r>
                        <a:rPr lang="de-DE" i="1" baseline="0" dirty="0">
                          <a:solidFill>
                            <a:srgbClr val="92D050"/>
                          </a:solidFill>
                        </a:rPr>
                        <a:t>                                  „Warum diese Schulform?“</a:t>
                      </a:r>
                    </a:p>
                    <a:p>
                      <a:endParaRPr lang="de-DE" baseline="0" dirty="0">
                        <a:solidFill>
                          <a:srgbClr val="3B434F"/>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endParaRPr lang="de-DE" b="1" dirty="0">
                        <a:solidFill>
                          <a:srgbClr val="3B434F"/>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de-DE" b="1" dirty="0">
                          <a:solidFill>
                            <a:srgbClr val="3B434F"/>
                          </a:solidFill>
                        </a:rPr>
                        <a:t>b</a:t>
                      </a:r>
                      <a:r>
                        <a:rPr lang="de-DE" b="1" dirty="0" smtClean="0">
                          <a:solidFill>
                            <a:srgbClr val="3B434F"/>
                          </a:solidFill>
                        </a:rPr>
                        <a:t>. </a:t>
                      </a:r>
                      <a:r>
                        <a:rPr lang="de-DE" b="1" dirty="0">
                          <a:solidFill>
                            <a:srgbClr val="3B434F"/>
                          </a:solidFill>
                        </a:rPr>
                        <a:t>Gesamtschule Hiesfeld:</a:t>
                      </a:r>
                      <a:r>
                        <a:rPr lang="de-DE" b="1" baseline="0" dirty="0">
                          <a:solidFill>
                            <a:srgbClr val="3B434F"/>
                          </a:solidFill>
                        </a:rPr>
                        <a:t> </a:t>
                      </a:r>
                      <a:r>
                        <a:rPr lang="de-DE" b="1" dirty="0" smtClean="0">
                          <a:solidFill>
                            <a:srgbClr val="3B434F"/>
                          </a:solidFill>
                        </a:rPr>
                        <a:t>Grundzüge unseres</a:t>
                      </a:r>
                      <a:r>
                        <a:rPr lang="de-DE" b="1" baseline="0" dirty="0" smtClean="0">
                          <a:solidFill>
                            <a:srgbClr val="3B434F"/>
                          </a:solidFill>
                        </a:rPr>
                        <a:t> </a:t>
                      </a:r>
                      <a:r>
                        <a:rPr lang="de-DE" b="1" dirty="0" smtClean="0">
                          <a:solidFill>
                            <a:srgbClr val="3B434F"/>
                          </a:solidFill>
                        </a:rPr>
                        <a:t>pädagogischen </a:t>
                      </a:r>
                      <a:r>
                        <a:rPr lang="de-DE" b="1" dirty="0">
                          <a:solidFill>
                            <a:srgbClr val="3B434F"/>
                          </a:solidFill>
                        </a:rPr>
                        <a:t>Konzepts</a:t>
                      </a:r>
                    </a:p>
                    <a:p>
                      <a:endParaRPr lang="de-DE" b="1" dirty="0">
                        <a:solidFill>
                          <a:srgbClr val="3B434F"/>
                        </a:solidFill>
                      </a:endParaRPr>
                    </a:p>
                    <a:p>
                      <a:r>
                        <a:rPr lang="de-DE" b="1" i="1" dirty="0">
                          <a:solidFill>
                            <a:srgbClr val="558ED5"/>
                          </a:solidFill>
                        </a:rPr>
                        <a:t>                                  „Warum die </a:t>
                      </a:r>
                      <a:r>
                        <a:rPr lang="de-DE" b="1" i="1" dirty="0" smtClean="0">
                          <a:solidFill>
                            <a:srgbClr val="558ED5"/>
                          </a:solidFill>
                        </a:rPr>
                        <a:t>Gesamtschule</a:t>
                      </a:r>
                      <a:r>
                        <a:rPr lang="de-DE" b="1" i="1" baseline="0" dirty="0" smtClean="0">
                          <a:solidFill>
                            <a:srgbClr val="558ED5"/>
                          </a:solidFill>
                        </a:rPr>
                        <a:t> </a:t>
                      </a:r>
                      <a:r>
                        <a:rPr lang="de-DE" b="1" i="1" baseline="0" dirty="0">
                          <a:solidFill>
                            <a:srgbClr val="558ED5"/>
                          </a:solidFill>
                        </a:rPr>
                        <a:t>Hiesfeld</a:t>
                      </a:r>
                      <a:r>
                        <a:rPr lang="de-DE" b="1" i="1" dirty="0">
                          <a:solidFill>
                            <a:srgbClr val="558ED5"/>
                          </a:solidFill>
                        </a:rPr>
                        <a:t>?“</a:t>
                      </a:r>
                      <a:endParaRPr lang="de-DE" b="1" dirty="0">
                        <a:solidFill>
                          <a:srgbClr val="3B434F"/>
                        </a:solidFill>
                      </a:endParaRPr>
                    </a:p>
                    <a:p>
                      <a:endParaRPr lang="de-DE" b="1" dirty="0">
                        <a:solidFill>
                          <a:srgbClr val="3B434F"/>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876545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241434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250825" y="855970"/>
            <a:ext cx="8639999" cy="369332"/>
          </a:xfrm>
        </p:spPr>
        <p:txBody>
          <a:bodyPr/>
          <a:lstStyle/>
          <a:p>
            <a:pPr>
              <a:spcAft>
                <a:spcPct val="0"/>
              </a:spcAft>
            </a:pPr>
            <a:r>
              <a:rPr lang="de-DE" sz="2400" i="1" dirty="0">
                <a:solidFill>
                  <a:srgbClr val="558ED5"/>
                </a:solidFill>
              </a:rPr>
              <a:t>„Halt und Struktur“</a:t>
            </a:r>
          </a:p>
        </p:txBody>
      </p:sp>
      <p:sp>
        <p:nvSpPr>
          <p:cNvPr id="7" name="Titel 2"/>
          <p:cNvSpPr txBox="1">
            <a:spLocks/>
          </p:cNvSpPr>
          <p:nvPr/>
        </p:nvSpPr>
        <p:spPr>
          <a:xfrm>
            <a:off x="254046" y="1254825"/>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Logbuch</a:t>
            </a:r>
            <a:endParaRPr lang="en-US" i="1" dirty="0">
              <a:solidFill>
                <a:srgbClr val="92D050"/>
              </a:solidFill>
            </a:endParaRPr>
          </a:p>
        </p:txBody>
      </p:sp>
      <p:sp>
        <p:nvSpPr>
          <p:cNvPr id="4" name="Inhaltsplatzhalter 3"/>
          <p:cNvSpPr>
            <a:spLocks noGrp="1"/>
          </p:cNvSpPr>
          <p:nvPr>
            <p:ph idx="1"/>
          </p:nvPr>
        </p:nvSpPr>
        <p:spPr>
          <a:xfrm>
            <a:off x="4750363" y="2420888"/>
            <a:ext cx="4141155" cy="3168352"/>
          </a:xfrm>
        </p:spPr>
        <p:txBody>
          <a:bodyPr/>
          <a:lstStyle/>
          <a:p>
            <a:pPr marL="0" indent="0">
              <a:buNone/>
            </a:pPr>
            <a:r>
              <a:rPr lang="de-DE" sz="1800" i="1" u="sng" dirty="0">
                <a:solidFill>
                  <a:srgbClr val="92D050"/>
                </a:solidFill>
              </a:rPr>
              <a:t>Ziele/ Möglichkeiten:</a:t>
            </a:r>
          </a:p>
          <a:p>
            <a:r>
              <a:rPr lang="de-DE" dirty="0">
                <a:solidFill>
                  <a:schemeClr val="tx1">
                    <a:lumMod val="50000"/>
                  </a:schemeClr>
                </a:solidFill>
              </a:rPr>
              <a:t>Selbstorganisation/ Reflexion</a:t>
            </a:r>
          </a:p>
          <a:p>
            <a:r>
              <a:rPr lang="de-DE" dirty="0">
                <a:solidFill>
                  <a:schemeClr val="tx1">
                    <a:lumMod val="50000"/>
                  </a:schemeClr>
                </a:solidFill>
              </a:rPr>
              <a:t>Kommunikation mit Eltern, zum Bsp. Entschuldigungen, Materiallisten etc.</a:t>
            </a:r>
          </a:p>
          <a:p>
            <a:r>
              <a:rPr lang="de-DE" dirty="0" err="1">
                <a:solidFill>
                  <a:schemeClr val="tx1">
                    <a:lumMod val="50000"/>
                  </a:schemeClr>
                </a:solidFill>
              </a:rPr>
              <a:t>Lernjobs</a:t>
            </a:r>
            <a:endParaRPr lang="de-DE" dirty="0">
              <a:solidFill>
                <a:schemeClr val="tx1">
                  <a:lumMod val="50000"/>
                </a:schemeClr>
              </a:solidFill>
            </a:endParaRPr>
          </a:p>
          <a:p>
            <a:r>
              <a:rPr lang="de-DE" dirty="0">
                <a:solidFill>
                  <a:schemeClr val="tx1">
                    <a:lumMod val="50000"/>
                  </a:schemeClr>
                </a:solidFill>
              </a:rPr>
              <a:t>Unterrichtsthemen jeder Stunde</a:t>
            </a:r>
          </a:p>
        </p:txBody>
      </p:sp>
      <p:pic>
        <p:nvPicPr>
          <p:cNvPr id="8" name="Grafik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9552" y="2204864"/>
            <a:ext cx="3611893" cy="2708920"/>
          </a:xfrm>
          <a:prstGeom prst="rect">
            <a:avLst/>
          </a:prstGeom>
        </p:spPr>
      </p:pic>
    </p:spTree>
    <p:extLst>
      <p:ext uri="{BB962C8B-B14F-4D97-AF65-F5344CB8AC3E}">
        <p14:creationId xmlns:p14="http://schemas.microsoft.com/office/powerpoint/2010/main" val="4060151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528077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8"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sp>
        <p:nvSpPr>
          <p:cNvPr id="13" name="Inhaltsplatzhalter 12"/>
          <p:cNvSpPr>
            <a:spLocks noGrp="1"/>
          </p:cNvSpPr>
          <p:nvPr>
            <p:ph idx="1"/>
          </p:nvPr>
        </p:nvSpPr>
        <p:spPr>
          <a:xfrm>
            <a:off x="5080163" y="1912964"/>
            <a:ext cx="3816424" cy="3785366"/>
          </a:xfrm>
        </p:spPr>
        <p:txBody>
          <a:bodyPr/>
          <a:lstStyle/>
          <a:p>
            <a:pPr marL="0" indent="0">
              <a:buNone/>
            </a:pPr>
            <a:r>
              <a:rPr lang="de-DE" dirty="0">
                <a:solidFill>
                  <a:srgbClr val="002060"/>
                </a:solidFill>
              </a:rPr>
              <a:t>Strukturierung:</a:t>
            </a:r>
          </a:p>
          <a:p>
            <a:pPr marL="0" indent="0">
              <a:buNone/>
            </a:pPr>
            <a:endParaRPr lang="de-DE" dirty="0"/>
          </a:p>
          <a:p>
            <a:pPr marL="0" indent="0">
              <a:buNone/>
            </a:pPr>
            <a:endParaRPr lang="de-DE" dirty="0"/>
          </a:p>
        </p:txBody>
      </p:sp>
      <p:sp>
        <p:nvSpPr>
          <p:cNvPr id="14" name="Textplatzhalter 13"/>
          <p:cNvSpPr>
            <a:spLocks noGrp="1"/>
          </p:cNvSpPr>
          <p:nvPr>
            <p:ph type="body" sz="quarter" idx="12"/>
          </p:nvPr>
        </p:nvSpPr>
        <p:spPr>
          <a:xfrm>
            <a:off x="395536" y="6265938"/>
            <a:ext cx="8029573" cy="144922"/>
          </a:xfrm>
        </p:spPr>
        <p:txBody>
          <a:bodyPr/>
          <a:lstStyle/>
          <a:p>
            <a:r>
              <a:rPr lang="de-DE" dirty="0"/>
              <a:t>*vgl. </a:t>
            </a:r>
            <a:r>
              <a:rPr lang="de-DE" dirty="0" err="1"/>
              <a:t>Kamski</a:t>
            </a:r>
            <a:r>
              <a:rPr lang="de-DE" dirty="0"/>
              <a:t> 2013, Kaufmann 2012 und </a:t>
            </a:r>
            <a:r>
              <a:rPr lang="de-DE" dirty="0" err="1"/>
              <a:t>Haenisch</a:t>
            </a:r>
            <a:endParaRPr lang="de-DE" dirty="0"/>
          </a:p>
        </p:txBody>
      </p:sp>
      <p:sp>
        <p:nvSpPr>
          <p:cNvPr id="3" name="Titel 2"/>
          <p:cNvSpPr>
            <a:spLocks noGrp="1"/>
          </p:cNvSpPr>
          <p:nvPr>
            <p:ph type="title"/>
          </p:nvPr>
        </p:nvSpPr>
        <p:spPr>
          <a:xfrm>
            <a:off x="179512" y="716095"/>
            <a:ext cx="8639999" cy="369332"/>
          </a:xfrm>
        </p:spPr>
        <p:txBody>
          <a:bodyPr/>
          <a:lstStyle/>
          <a:p>
            <a:pPr>
              <a:spcAft>
                <a:spcPct val="0"/>
              </a:spcAft>
            </a:pPr>
            <a:r>
              <a:rPr lang="de-DE" sz="2400" i="1" dirty="0">
                <a:solidFill>
                  <a:srgbClr val="558ED5"/>
                </a:solidFill>
              </a:rPr>
              <a:t>„Eigenverantwortlich“</a:t>
            </a:r>
          </a:p>
        </p:txBody>
      </p:sp>
      <p:sp>
        <p:nvSpPr>
          <p:cNvPr id="7" name="Titel 2"/>
          <p:cNvSpPr txBox="1">
            <a:spLocks/>
          </p:cNvSpPr>
          <p:nvPr/>
        </p:nvSpPr>
        <p:spPr>
          <a:xfrm>
            <a:off x="254872" y="1159448"/>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Lernzeiten</a:t>
            </a:r>
            <a:endParaRPr lang="en-US" i="1" dirty="0">
              <a:solidFill>
                <a:srgbClr val="92D050"/>
              </a:solidFill>
            </a:endParaRPr>
          </a:p>
        </p:txBody>
      </p:sp>
      <p:sp>
        <p:nvSpPr>
          <p:cNvPr id="16" name="Inhaltsplatzhalter 12"/>
          <p:cNvSpPr txBox="1">
            <a:spLocks/>
          </p:cNvSpPr>
          <p:nvPr/>
        </p:nvSpPr>
        <p:spPr>
          <a:xfrm>
            <a:off x="434378" y="1897698"/>
            <a:ext cx="4141155" cy="3785241"/>
          </a:xfrm>
          <a:prstGeom prst="rect">
            <a:avLst/>
          </a:prstGeom>
        </p:spPr>
        <p:txBody>
          <a:bodyPr vert="horz" lIns="0" tIns="0" rIns="0" bIns="0" rtlCol="0" anchor="t">
            <a:noAutofit/>
          </a:bodyPr>
          <a:lstStyle>
            <a:lvl1pPr marL="180000" indent="-180000" algn="l" defTabSz="914400" rtl="0" eaLnBrk="1" latinLnBrk="0" hangingPunct="1">
              <a:spcBef>
                <a:spcPts val="1200"/>
              </a:spcBef>
              <a:spcAft>
                <a:spcPts val="0"/>
              </a:spcAft>
              <a:buClr>
                <a:schemeClr val="accent2"/>
              </a:buClr>
              <a:buFont typeface="Arial" panose="020B0604020202020204" pitchFamily="34" charset="0"/>
              <a:buChar char="•"/>
              <a:defRPr sz="1600" kern="1200">
                <a:solidFill>
                  <a:schemeClr val="tx2">
                    <a:lumMod val="75000"/>
                  </a:schemeClr>
                </a:solidFill>
                <a:latin typeface="+mn-lt"/>
                <a:ea typeface="+mn-ea"/>
                <a:cs typeface="+mn-cs"/>
              </a:defRPr>
            </a:lvl1pPr>
            <a:lvl2pPr marL="3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2pPr>
            <a:lvl3pPr marL="54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3pPr>
            <a:lvl4pPr marL="7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4pPr>
            <a:lvl5pPr marL="898525"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5pPr>
            <a:lvl6pPr marL="10795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6pPr>
            <a:lvl7pPr marL="12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7pPr>
            <a:lvl8pPr marL="144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8pPr>
            <a:lvl9pPr marL="16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9pPr>
          </a:lstStyle>
          <a:p>
            <a:pPr marL="0" indent="0">
              <a:buNone/>
            </a:pPr>
            <a:r>
              <a:rPr lang="de-DE" dirty="0">
                <a:solidFill>
                  <a:schemeClr val="tx1">
                    <a:lumMod val="50000"/>
                  </a:schemeClr>
                </a:solidFill>
              </a:rPr>
              <a:t>Ziele: </a:t>
            </a:r>
          </a:p>
          <a:p>
            <a:pPr marL="179705" indent="-179705"/>
            <a:r>
              <a:rPr lang="de-DE" dirty="0">
                <a:solidFill>
                  <a:schemeClr val="tx1">
                    <a:lumMod val="50000"/>
                  </a:schemeClr>
                </a:solidFill>
              </a:rPr>
              <a:t>Erledigung von Haus- und Übungsaufgaben während des Schultages (Ma/E/De)</a:t>
            </a:r>
          </a:p>
          <a:p>
            <a:pPr marL="179705" indent="-179705"/>
            <a:r>
              <a:rPr lang="de-DE" dirty="0">
                <a:solidFill>
                  <a:schemeClr val="tx1">
                    <a:lumMod val="50000"/>
                  </a:schemeClr>
                </a:solidFill>
              </a:rPr>
              <a:t>Befähigung zum selbstbestimmten und eigenverantwortlichen Lernen</a:t>
            </a:r>
          </a:p>
          <a:p>
            <a:pPr marL="179705" indent="-179705"/>
            <a:r>
              <a:rPr lang="de-DE" dirty="0">
                <a:solidFill>
                  <a:schemeClr val="tx1">
                    <a:lumMod val="50000"/>
                  </a:schemeClr>
                </a:solidFill>
              </a:rPr>
              <a:t>Individuelle Förderung und Beratung der Schülerinnen und Schüler </a:t>
            </a:r>
          </a:p>
          <a:p>
            <a:pPr marL="179705" indent="-179705"/>
            <a:r>
              <a:rPr lang="de-DE" dirty="0">
                <a:solidFill>
                  <a:schemeClr val="tx1">
                    <a:lumMod val="50000"/>
                  </a:schemeClr>
                </a:solidFill>
              </a:rPr>
              <a:t>Erlernen unterschiedlicher Sozialformen und Arbeitstechniken </a:t>
            </a:r>
          </a:p>
          <a:p>
            <a:pPr marL="179705" indent="-179705"/>
            <a:r>
              <a:rPr lang="de-DE" dirty="0">
                <a:solidFill>
                  <a:schemeClr val="tx1">
                    <a:lumMod val="50000"/>
                  </a:schemeClr>
                </a:solidFill>
              </a:rPr>
              <a:t>Anknüpfen an erlernte Struktur in der Grundschule</a:t>
            </a:r>
          </a:p>
        </p:txBody>
      </p:sp>
      <p:pic>
        <p:nvPicPr>
          <p:cNvPr id="23585" name="Picture 3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92231" y="2322091"/>
            <a:ext cx="2592288" cy="34567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AutoShape 72"/>
          <p:cNvSpPr>
            <a:spLocks noChangeArrowheads="1"/>
          </p:cNvSpPr>
          <p:nvPr/>
        </p:nvSpPr>
        <p:spPr bwMode="auto">
          <a:xfrm>
            <a:off x="4120" y="5877272"/>
            <a:ext cx="8280399" cy="576064"/>
          </a:xfrm>
          <a:prstGeom prst="rect">
            <a:avLst/>
          </a:prstGeom>
          <a:solidFill>
            <a:srgbClr val="558ED5"/>
          </a:solidFill>
          <a:ln w="12700" algn="ctr">
            <a:noFill/>
            <a:round/>
            <a:headEnd/>
            <a:tailEnd/>
          </a:ln>
          <a:effectLst/>
        </p:spPr>
        <p:txBody>
          <a:bodyPr lIns="252000" anchor="ctr"/>
          <a:lstStyle/>
          <a:p>
            <a:pPr marL="1588" eaLnBrk="0" hangingPunct="0">
              <a:lnSpc>
                <a:spcPct val="90000"/>
              </a:lnSpc>
              <a:defRPr/>
            </a:pPr>
            <a:r>
              <a:rPr lang="de-DE" sz="1400" u="sng" kern="0" dirty="0">
                <a:solidFill>
                  <a:srgbClr val="FFFFFF"/>
                </a:solidFill>
              </a:rPr>
              <a:t>Rituale</a:t>
            </a:r>
            <a:r>
              <a:rPr lang="de-DE" sz="1400" kern="0" dirty="0">
                <a:solidFill>
                  <a:srgbClr val="FFFFFF"/>
                </a:solidFill>
              </a:rPr>
              <a:t>:  Flüsterkultur  - Helfersysteme – Musterlösungen/ Selbstkontrolle – Material für „Auszeiten“ –                        Phasenwechsel Klingel</a:t>
            </a:r>
          </a:p>
        </p:txBody>
      </p:sp>
    </p:spTree>
    <p:extLst>
      <p:ext uri="{BB962C8B-B14F-4D97-AF65-F5344CB8AC3E}">
        <p14:creationId xmlns:p14="http://schemas.microsoft.com/office/powerpoint/2010/main" val="208177651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880966" y="1969231"/>
            <a:ext cx="7704856" cy="2253314"/>
          </a:xfrm>
        </p:spPr>
        <p:txBody>
          <a:bodyPr vert="horz" lIns="0" tIns="0" rIns="0" bIns="0" rtlCol="0" anchor="t">
            <a:noAutofit/>
          </a:bodyPr>
          <a:lstStyle/>
          <a:p>
            <a:pPr marL="179705" indent="-179705"/>
            <a:r>
              <a:rPr lang="de-DE" sz="2000" dirty="0"/>
              <a:t>Ausstattung der Klassenräume mit digitalen Tafeln</a:t>
            </a:r>
            <a:endParaRPr lang="en-US" dirty="0"/>
          </a:p>
          <a:p>
            <a:pPr marL="179705" indent="-179705"/>
            <a:r>
              <a:rPr lang="de-DE" sz="2000" dirty="0"/>
              <a:t>Laptops und I-Pads für den Unterricht (1:3)</a:t>
            </a:r>
          </a:p>
          <a:p>
            <a:pPr marL="179705" indent="-179705"/>
            <a:r>
              <a:rPr lang="de-DE" sz="2000" dirty="0"/>
              <a:t>Konzept zum Distanzlernen</a:t>
            </a:r>
          </a:p>
          <a:p>
            <a:pPr marL="179705" indent="-179705"/>
            <a:r>
              <a:rPr lang="de-DE" sz="2000" dirty="0"/>
              <a:t>Lernplattform Microsoft Teams: Persönliche Schüler-Accounts</a:t>
            </a:r>
          </a:p>
          <a:p>
            <a:pPr marL="179705" indent="-179705"/>
            <a:r>
              <a:rPr lang="de-DE" sz="2000" dirty="0"/>
              <a:t>Unser </a:t>
            </a:r>
            <a:r>
              <a:rPr lang="de-DE" sz="2000" dirty="0" err="1"/>
              <a:t>Fab</a:t>
            </a:r>
            <a:r>
              <a:rPr lang="de-DE" sz="2000" dirty="0"/>
              <a:t> Lab: Innovationspreis der Stadt Dinslaken 2024</a:t>
            </a:r>
          </a:p>
          <a:p>
            <a:pPr marL="179705" indent="-179705"/>
            <a:r>
              <a:rPr lang="de-DE" sz="2000" dirty="0"/>
              <a:t>Eigener YouTube Kanal/ 39TV</a:t>
            </a:r>
          </a:p>
          <a:p>
            <a:pPr marL="179705" indent="-179705"/>
            <a:r>
              <a:rPr lang="de-DE" sz="2000" dirty="0" err="1"/>
              <a:t>Webuntis</a:t>
            </a:r>
            <a:r>
              <a:rPr lang="de-DE" sz="2000" dirty="0"/>
              <a:t> für Elternsprechtage und Krankmeldung</a:t>
            </a:r>
          </a:p>
          <a:p>
            <a:pPr marL="179705" indent="-179705"/>
            <a:r>
              <a:rPr lang="de-DE" sz="2000" dirty="0"/>
              <a:t>Klassengeld</a:t>
            </a:r>
          </a:p>
          <a:p>
            <a:pPr marL="179705" indent="-179705"/>
            <a:r>
              <a:rPr lang="de-DE" sz="2000" dirty="0"/>
              <a:t>Instagram</a:t>
            </a:r>
          </a:p>
          <a:p>
            <a:pPr marL="179705" indent="-179705"/>
            <a:r>
              <a:rPr lang="de-DE" sz="2000" dirty="0" err="1"/>
              <a:t>Lernapps</a:t>
            </a:r>
            <a:r>
              <a:rPr lang="de-DE" sz="2000" dirty="0"/>
              <a:t> werden genutzt</a:t>
            </a:r>
          </a:p>
        </p:txBody>
      </p:sp>
      <p:sp>
        <p:nvSpPr>
          <p:cNvPr id="5" name="Rechteck 4"/>
          <p:cNvSpPr/>
          <p:nvPr/>
        </p:nvSpPr>
        <p:spPr>
          <a:xfrm>
            <a:off x="107504" y="1323035"/>
            <a:ext cx="7776864" cy="430887"/>
          </a:xfrm>
          <a:prstGeom prst="rect">
            <a:avLst/>
          </a:prstGeom>
        </p:spPr>
        <p:txBody>
          <a:bodyPr wrap="square">
            <a:spAutoFit/>
          </a:bodyPr>
          <a:lstStyle/>
          <a:p>
            <a:pPr lvl="0"/>
            <a:r>
              <a:rPr lang="en-US" sz="2200" i="1" dirty="0">
                <a:solidFill>
                  <a:srgbClr val="92D050"/>
                </a:solidFill>
              </a:rPr>
              <a:t>  </a:t>
            </a:r>
            <a:r>
              <a:rPr lang="en-US" sz="2200" i="1" dirty="0" err="1">
                <a:solidFill>
                  <a:srgbClr val="92D050"/>
                </a:solidFill>
              </a:rPr>
              <a:t>Digitales</a:t>
            </a:r>
            <a:r>
              <a:rPr lang="en-US" sz="2200" i="1" dirty="0">
                <a:solidFill>
                  <a:srgbClr val="92D050"/>
                </a:solidFill>
              </a:rPr>
              <a:t> </a:t>
            </a:r>
            <a:r>
              <a:rPr lang="en-US" sz="2200" i="1" dirty="0" err="1">
                <a:solidFill>
                  <a:srgbClr val="92D050"/>
                </a:solidFill>
              </a:rPr>
              <a:t>Lernen</a:t>
            </a:r>
            <a:r>
              <a:rPr lang="en-US" sz="2200" i="1" dirty="0">
                <a:solidFill>
                  <a:srgbClr val="92D050"/>
                </a:solidFill>
              </a:rPr>
              <a:t>/ </a:t>
            </a:r>
            <a:r>
              <a:rPr lang="en-US" sz="2200" i="1" dirty="0" err="1">
                <a:solidFill>
                  <a:srgbClr val="92D050"/>
                </a:solidFill>
              </a:rPr>
              <a:t>Arbeiten</a:t>
            </a:r>
            <a:r>
              <a:rPr lang="en-US" sz="2200" i="1" dirty="0">
                <a:solidFill>
                  <a:srgbClr val="92D050"/>
                </a:solidFill>
              </a:rPr>
              <a:t>/ </a:t>
            </a:r>
            <a:r>
              <a:rPr lang="en-US" sz="2200" i="1" dirty="0" err="1">
                <a:solidFill>
                  <a:srgbClr val="92D050"/>
                </a:solidFill>
              </a:rPr>
              <a:t>Unterrichten</a:t>
            </a:r>
            <a:endParaRPr lang="en-US" sz="2200" i="1" dirty="0">
              <a:solidFill>
                <a:srgbClr val="92D050"/>
              </a:solidFill>
            </a:endParaRPr>
          </a:p>
        </p:txBody>
      </p:sp>
      <p:pic>
        <p:nvPicPr>
          <p:cNvPr id="6" name="Grafik 5">
            <a:extLst>
              <a:ext uri="{FF2B5EF4-FFF2-40B4-BE49-F238E27FC236}">
                <a16:creationId xmlns:a16="http://schemas.microsoft.com/office/drawing/2014/main" id="{6C2E00C0-FB48-C747-9B72-077B11E597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95313" y="1285175"/>
            <a:ext cx="1830525" cy="1368111"/>
          </a:xfrm>
          <a:prstGeom prst="rect">
            <a:avLst/>
          </a:prstGeom>
        </p:spPr>
      </p:pic>
      <p:sp>
        <p:nvSpPr>
          <p:cNvPr id="7" name="Rechteck 6"/>
          <p:cNvSpPr/>
          <p:nvPr/>
        </p:nvSpPr>
        <p:spPr>
          <a:xfrm>
            <a:off x="251520" y="853320"/>
            <a:ext cx="2015295" cy="461665"/>
          </a:xfrm>
          <a:prstGeom prst="rect">
            <a:avLst/>
          </a:prstGeom>
        </p:spPr>
        <p:txBody>
          <a:bodyPr wrap="none">
            <a:spAutoFit/>
          </a:bodyPr>
          <a:lstStyle/>
          <a:p>
            <a:r>
              <a:rPr lang="de-DE" sz="2400" i="1" dirty="0">
                <a:solidFill>
                  <a:srgbClr val="558ED5"/>
                </a:solidFill>
              </a:rPr>
              <a:t>„Innovativ…“ </a:t>
            </a:r>
          </a:p>
        </p:txBody>
      </p:sp>
      <p:pic>
        <p:nvPicPr>
          <p:cNvPr id="2" name="Picture 1" descr="A child standing in front of a screen&#10;&#10;Description automatically generated">
            <a:extLst>
              <a:ext uri="{FF2B5EF4-FFF2-40B4-BE49-F238E27FC236}">
                <a16:creationId xmlns:a16="http://schemas.microsoft.com/office/drawing/2014/main" id="{15B2CE70-5F0D-5F0F-025F-90A47E355C08}"/>
              </a:ext>
            </a:extLst>
          </p:cNvPr>
          <p:cNvPicPr>
            <a:picLocks noChangeAspect="1"/>
          </p:cNvPicPr>
          <p:nvPr/>
        </p:nvPicPr>
        <p:blipFill>
          <a:blip r:embed="rId4"/>
          <a:stretch>
            <a:fillRect/>
          </a:stretch>
        </p:blipFill>
        <p:spPr>
          <a:xfrm>
            <a:off x="6300192" y="4963378"/>
            <a:ext cx="2620769" cy="1889060"/>
          </a:xfrm>
          <a:prstGeom prst="rect">
            <a:avLst/>
          </a:prstGeom>
        </p:spPr>
      </p:pic>
    </p:spTree>
    <p:extLst>
      <p:ext uri="{BB962C8B-B14F-4D97-AF65-F5344CB8AC3E}">
        <p14:creationId xmlns:p14="http://schemas.microsoft.com/office/powerpoint/2010/main" val="30227070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568195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2"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sp>
        <p:nvSpPr>
          <p:cNvPr id="13" name="Inhaltsplatzhalter 12"/>
          <p:cNvSpPr>
            <a:spLocks noGrp="1"/>
          </p:cNvSpPr>
          <p:nvPr>
            <p:ph idx="1"/>
          </p:nvPr>
        </p:nvSpPr>
        <p:spPr>
          <a:xfrm>
            <a:off x="5037227" y="2708697"/>
            <a:ext cx="3710069" cy="3384376"/>
          </a:xfrm>
        </p:spPr>
        <p:txBody>
          <a:bodyPr/>
          <a:lstStyle/>
          <a:p>
            <a:r>
              <a:rPr lang="de-DE" dirty="0">
                <a:solidFill>
                  <a:schemeClr val="tx1">
                    <a:lumMod val="50000"/>
                  </a:schemeClr>
                </a:solidFill>
              </a:rPr>
              <a:t>Projekte finden verbindlich statt</a:t>
            </a:r>
          </a:p>
          <a:p>
            <a:r>
              <a:rPr lang="de-DE" dirty="0">
                <a:solidFill>
                  <a:schemeClr val="tx1">
                    <a:lumMod val="50000"/>
                  </a:schemeClr>
                </a:solidFill>
              </a:rPr>
              <a:t>Betreuung durch Fachlehrer </a:t>
            </a:r>
          </a:p>
          <a:p>
            <a:r>
              <a:rPr lang="de-DE" dirty="0">
                <a:solidFill>
                  <a:schemeClr val="tx1">
                    <a:lumMod val="50000"/>
                  </a:schemeClr>
                </a:solidFill>
              </a:rPr>
              <a:t>Gesellschaftslehre/Naturwissenschaft (später auch Kunst/Religion/Musik = fächerübergreifend)</a:t>
            </a:r>
          </a:p>
          <a:p>
            <a:r>
              <a:rPr lang="de-DE" dirty="0">
                <a:solidFill>
                  <a:schemeClr val="tx1">
                    <a:lumMod val="50000"/>
                  </a:schemeClr>
                </a:solidFill>
              </a:rPr>
              <a:t>Einüben von fachlichen, kommunikativen, sozialen Kompetenzen</a:t>
            </a:r>
          </a:p>
          <a:p>
            <a:r>
              <a:rPr lang="de-DE" dirty="0">
                <a:solidFill>
                  <a:schemeClr val="tx1">
                    <a:lumMod val="50000"/>
                  </a:schemeClr>
                </a:solidFill>
              </a:rPr>
              <a:t>Produktorientiert = Präsentationen (Poster, Power-Point, Rollenspiele, Modelle, Versuche, Filme, Foto-Story….)</a:t>
            </a:r>
          </a:p>
        </p:txBody>
      </p:sp>
      <p:sp>
        <p:nvSpPr>
          <p:cNvPr id="3" name="Titel 2"/>
          <p:cNvSpPr>
            <a:spLocks noGrp="1"/>
          </p:cNvSpPr>
          <p:nvPr>
            <p:ph type="title"/>
          </p:nvPr>
        </p:nvSpPr>
        <p:spPr>
          <a:xfrm>
            <a:off x="250825" y="797247"/>
            <a:ext cx="8639999" cy="369332"/>
          </a:xfrm>
        </p:spPr>
        <p:txBody>
          <a:bodyPr/>
          <a:lstStyle/>
          <a:p>
            <a:pPr>
              <a:spcAft>
                <a:spcPct val="0"/>
              </a:spcAft>
            </a:pPr>
            <a:r>
              <a:rPr lang="de-DE" sz="2400" i="1" dirty="0">
                <a:solidFill>
                  <a:srgbClr val="558ED5"/>
                </a:solidFill>
              </a:rPr>
              <a:t>„… und kreativ“</a:t>
            </a:r>
          </a:p>
        </p:txBody>
      </p:sp>
      <p:sp>
        <p:nvSpPr>
          <p:cNvPr id="7" name="Titel 2"/>
          <p:cNvSpPr txBox="1">
            <a:spLocks/>
          </p:cNvSpPr>
          <p:nvPr/>
        </p:nvSpPr>
        <p:spPr>
          <a:xfrm>
            <a:off x="250824" y="1217160"/>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Projektorientierter</a:t>
            </a:r>
            <a:r>
              <a:rPr lang="en-US" i="1" dirty="0">
                <a:solidFill>
                  <a:srgbClr val="7B8B9C"/>
                </a:solidFill>
              </a:rPr>
              <a:t> </a:t>
            </a:r>
            <a:r>
              <a:rPr lang="en-US" i="1" dirty="0" err="1">
                <a:solidFill>
                  <a:srgbClr val="92D050"/>
                </a:solidFill>
              </a:rPr>
              <a:t>Unterricht</a:t>
            </a:r>
            <a:r>
              <a:rPr lang="en-US" i="1" dirty="0">
                <a:solidFill>
                  <a:srgbClr val="92D050"/>
                </a:solidFill>
              </a:rPr>
              <a:t> in NW und GL</a:t>
            </a:r>
          </a:p>
        </p:txBody>
      </p:sp>
      <p:sp>
        <p:nvSpPr>
          <p:cNvPr id="16" name="Inhaltsplatzhalter 12"/>
          <p:cNvSpPr txBox="1">
            <a:spLocks/>
          </p:cNvSpPr>
          <p:nvPr/>
        </p:nvSpPr>
        <p:spPr>
          <a:xfrm>
            <a:off x="309691" y="1772816"/>
            <a:ext cx="4141155" cy="3785241"/>
          </a:xfrm>
          <a:prstGeom prst="rect">
            <a:avLst/>
          </a:prstGeom>
        </p:spPr>
        <p:txBody>
          <a:bodyPr vert="horz" lIns="0" tIns="0" rIns="0" bIns="0" rtlCol="0">
            <a:noAutofit/>
          </a:bodyPr>
          <a:lstStyle>
            <a:lvl1pPr marL="180000" indent="-180000" algn="l" defTabSz="914400" rtl="0" eaLnBrk="1" latinLnBrk="0" hangingPunct="1">
              <a:spcBef>
                <a:spcPts val="1200"/>
              </a:spcBef>
              <a:spcAft>
                <a:spcPts val="0"/>
              </a:spcAft>
              <a:buClr>
                <a:schemeClr val="accent2"/>
              </a:buClr>
              <a:buFont typeface="Arial" panose="020B0604020202020204" pitchFamily="34" charset="0"/>
              <a:buChar char="•"/>
              <a:defRPr sz="1600" kern="1200">
                <a:solidFill>
                  <a:schemeClr val="tx2">
                    <a:lumMod val="75000"/>
                  </a:schemeClr>
                </a:solidFill>
                <a:latin typeface="+mn-lt"/>
                <a:ea typeface="+mn-ea"/>
                <a:cs typeface="+mn-cs"/>
              </a:defRPr>
            </a:lvl1pPr>
            <a:lvl2pPr marL="3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2pPr>
            <a:lvl3pPr marL="54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3pPr>
            <a:lvl4pPr marL="7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4pPr>
            <a:lvl5pPr marL="898525"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5pPr>
            <a:lvl6pPr marL="10795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6pPr>
            <a:lvl7pPr marL="12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7pPr>
            <a:lvl8pPr marL="144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8pPr>
            <a:lvl9pPr marL="16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9pPr>
          </a:lstStyle>
          <a:p>
            <a:pPr marL="0" indent="0">
              <a:buNone/>
            </a:pPr>
            <a:endParaRPr lang="de-DE" dirty="0"/>
          </a:p>
        </p:txBody>
      </p:sp>
      <p:sp>
        <p:nvSpPr>
          <p:cNvPr id="10" name="Inhaltsplatzhalter 12"/>
          <p:cNvSpPr txBox="1">
            <a:spLocks/>
          </p:cNvSpPr>
          <p:nvPr/>
        </p:nvSpPr>
        <p:spPr>
          <a:xfrm>
            <a:off x="539552" y="1700808"/>
            <a:ext cx="3816424" cy="3785366"/>
          </a:xfrm>
          <a:prstGeom prst="rect">
            <a:avLst/>
          </a:prstGeom>
        </p:spPr>
        <p:txBody>
          <a:bodyPr vert="horz" lIns="0" tIns="0" rIns="0" bIns="0" rtlCol="0">
            <a:noAutofit/>
          </a:bodyPr>
          <a:lstStyle>
            <a:lvl1pPr marL="180000" indent="-180000" algn="l" defTabSz="914400" rtl="0" eaLnBrk="1" latinLnBrk="0" hangingPunct="1">
              <a:spcBef>
                <a:spcPts val="1200"/>
              </a:spcBef>
              <a:spcAft>
                <a:spcPts val="0"/>
              </a:spcAft>
              <a:buClr>
                <a:schemeClr val="accent2"/>
              </a:buClr>
              <a:buFont typeface="Arial" panose="020B0604020202020204" pitchFamily="34" charset="0"/>
              <a:buChar char="•"/>
              <a:defRPr sz="1600" kern="1200">
                <a:solidFill>
                  <a:schemeClr val="tx2">
                    <a:lumMod val="75000"/>
                  </a:schemeClr>
                </a:solidFill>
                <a:latin typeface="+mn-lt"/>
                <a:ea typeface="+mn-ea"/>
                <a:cs typeface="+mn-cs"/>
              </a:defRPr>
            </a:lvl1pPr>
            <a:lvl2pPr marL="3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2pPr>
            <a:lvl3pPr marL="54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3pPr>
            <a:lvl4pPr marL="7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4pPr>
            <a:lvl5pPr marL="898525"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5pPr>
            <a:lvl6pPr marL="10795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6pPr>
            <a:lvl7pPr marL="12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7pPr>
            <a:lvl8pPr marL="144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8pPr>
            <a:lvl9pPr marL="16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9pPr>
          </a:lstStyle>
          <a:p>
            <a:endParaRPr lang="de-DE" dirty="0"/>
          </a:p>
          <a:p>
            <a:endParaRPr lang="de-DE" dirty="0"/>
          </a:p>
        </p:txBody>
      </p:sp>
      <p:sp>
        <p:nvSpPr>
          <p:cNvPr id="11" name="Inhaltsplatzhalter 12"/>
          <p:cNvSpPr txBox="1">
            <a:spLocks/>
          </p:cNvSpPr>
          <p:nvPr/>
        </p:nvSpPr>
        <p:spPr>
          <a:xfrm>
            <a:off x="660643" y="1944470"/>
            <a:ext cx="3816424" cy="3785366"/>
          </a:xfrm>
          <a:prstGeom prst="rect">
            <a:avLst/>
          </a:prstGeom>
        </p:spPr>
        <p:txBody>
          <a:bodyPr vert="horz" lIns="0" tIns="0" rIns="0" bIns="0" rtlCol="0">
            <a:noAutofit/>
          </a:bodyPr>
          <a:lstStyle>
            <a:lvl1pPr marL="180000" indent="-180000" algn="l" defTabSz="914400" rtl="0" eaLnBrk="1" latinLnBrk="0" hangingPunct="1">
              <a:spcBef>
                <a:spcPts val="1200"/>
              </a:spcBef>
              <a:spcAft>
                <a:spcPts val="0"/>
              </a:spcAft>
              <a:buClr>
                <a:schemeClr val="accent2"/>
              </a:buClr>
              <a:buFont typeface="Arial" panose="020B0604020202020204" pitchFamily="34" charset="0"/>
              <a:buChar char="•"/>
              <a:defRPr sz="1600" kern="1200">
                <a:solidFill>
                  <a:schemeClr val="tx2">
                    <a:lumMod val="75000"/>
                  </a:schemeClr>
                </a:solidFill>
                <a:latin typeface="+mn-lt"/>
                <a:ea typeface="+mn-ea"/>
                <a:cs typeface="+mn-cs"/>
              </a:defRPr>
            </a:lvl1pPr>
            <a:lvl2pPr marL="3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2pPr>
            <a:lvl3pPr marL="54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3pPr>
            <a:lvl4pPr marL="7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4pPr>
            <a:lvl5pPr marL="898525"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5pPr>
            <a:lvl6pPr marL="10795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6pPr>
            <a:lvl7pPr marL="12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7pPr>
            <a:lvl8pPr marL="144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8pPr>
            <a:lvl9pPr marL="16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9pPr>
          </a:lstStyle>
          <a:p>
            <a:endParaRPr lang="de-DE" dirty="0"/>
          </a:p>
          <a:p>
            <a:endParaRPr lang="de-DE" dirty="0"/>
          </a:p>
          <a:p>
            <a:endParaRPr lang="de-DE" dirty="0"/>
          </a:p>
        </p:txBody>
      </p:sp>
      <p:graphicFrame>
        <p:nvGraphicFramePr>
          <p:cNvPr id="4" name="Diagramm 3"/>
          <p:cNvGraphicFramePr/>
          <p:nvPr>
            <p:extLst>
              <p:ext uri="{D42A27DB-BD31-4B8C-83A1-F6EECF244321}">
                <p14:modId xmlns:p14="http://schemas.microsoft.com/office/powerpoint/2010/main" val="950242227"/>
              </p:ext>
            </p:extLst>
          </p:nvPr>
        </p:nvGraphicFramePr>
        <p:xfrm>
          <a:off x="391514" y="2505005"/>
          <a:ext cx="3240360" cy="266429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Pfeil nach links 5"/>
          <p:cNvSpPr/>
          <p:nvPr/>
        </p:nvSpPr>
        <p:spPr>
          <a:xfrm>
            <a:off x="3539850" y="3154207"/>
            <a:ext cx="1030974" cy="1231219"/>
          </a:xfrm>
          <a:prstGeom prst="leftArrow">
            <a:avLst/>
          </a:prstGeom>
          <a:pattFill prst="smCheck">
            <a:fgClr>
              <a:srgbClr val="7B8B9C"/>
            </a:fgClr>
            <a:bgClr>
              <a:schemeClr val="bg1"/>
            </a:bgClr>
          </a:pattFill>
          <a:ln>
            <a:solidFill>
              <a:schemeClr val="bg2"/>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de-DE" sz="1600" b="1" dirty="0" err="1">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outerShdw blurRad="50800" dist="38100" dir="2700000" algn="tl" rotWithShape="0">
                  <a:prstClr val="black">
                    <a:alpha val="40000"/>
                  </a:prstClr>
                </a:outerShdw>
              </a:effectLst>
            </a:endParaRPr>
          </a:p>
        </p:txBody>
      </p:sp>
      <p:pic>
        <p:nvPicPr>
          <p:cNvPr id="14" name="Grafik 1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5400000">
            <a:off x="6235013" y="992952"/>
            <a:ext cx="1824202" cy="1368152"/>
          </a:xfrm>
          <a:prstGeom prst="rect">
            <a:avLst/>
          </a:prstGeom>
        </p:spPr>
      </p:pic>
      <p:sp>
        <p:nvSpPr>
          <p:cNvPr id="8" name="Textplatzhalter 7"/>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7833067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3238" y="809297"/>
            <a:ext cx="7813178" cy="369332"/>
          </a:xfrm>
        </p:spPr>
        <p:txBody>
          <a:bodyPr/>
          <a:lstStyle/>
          <a:p>
            <a:r>
              <a:rPr lang="de-DE" sz="2400" i="1" dirty="0"/>
              <a:t>„Erfolgreich sein…“</a:t>
            </a:r>
            <a:endParaRPr lang="de-DE" sz="2400" dirty="0"/>
          </a:p>
        </p:txBody>
      </p:sp>
      <p:sp>
        <p:nvSpPr>
          <p:cNvPr id="3" name="Untertitel 2"/>
          <p:cNvSpPr>
            <a:spLocks noGrp="1"/>
          </p:cNvSpPr>
          <p:nvPr>
            <p:ph type="subTitle" idx="1"/>
          </p:nvPr>
        </p:nvSpPr>
        <p:spPr>
          <a:xfrm>
            <a:off x="3344339" y="1752153"/>
            <a:ext cx="6697661" cy="738664"/>
          </a:xfrm>
        </p:spPr>
        <p:txBody>
          <a:bodyPr/>
          <a:lstStyle/>
          <a:p>
            <a:endParaRPr lang="de-DE" sz="1600" dirty="0">
              <a:solidFill>
                <a:schemeClr val="accent1">
                  <a:lumMod val="10000"/>
                </a:schemeClr>
              </a:solidFill>
            </a:endParaRPr>
          </a:p>
          <a:p>
            <a:endParaRPr lang="de-DE" sz="1600" dirty="0">
              <a:solidFill>
                <a:schemeClr val="accent1">
                  <a:lumMod val="10000"/>
                </a:schemeClr>
              </a:solidFill>
            </a:endParaRPr>
          </a:p>
          <a:p>
            <a:r>
              <a:rPr lang="de-DE" sz="1600" dirty="0">
                <a:solidFill>
                  <a:schemeClr val="accent1">
                    <a:lumMod val="10000"/>
                  </a:schemeClr>
                </a:solidFill>
              </a:rPr>
              <a:t>…beim Vorlesewettbewerb</a:t>
            </a:r>
          </a:p>
        </p:txBody>
      </p:sp>
      <p:pic>
        <p:nvPicPr>
          <p:cNvPr id="5" name="Grafik 4"/>
          <p:cNvPicPr>
            <a:picLocks noChangeAspect="1"/>
          </p:cNvPicPr>
          <p:nvPr/>
        </p:nvPicPr>
        <p:blipFill>
          <a:blip r:embed="rId4"/>
          <a:stretch>
            <a:fillRect/>
          </a:stretch>
        </p:blipFill>
        <p:spPr>
          <a:xfrm>
            <a:off x="675981" y="2205142"/>
            <a:ext cx="1161670" cy="1040188"/>
          </a:xfrm>
          <a:prstGeom prst="rect">
            <a:avLst/>
          </a:prstGeom>
        </p:spPr>
      </p:pic>
      <p:sp>
        <p:nvSpPr>
          <p:cNvPr id="4" name="Textplatzhalter 3"/>
          <p:cNvSpPr>
            <a:spLocks noGrp="1"/>
          </p:cNvSpPr>
          <p:nvPr>
            <p:ph type="body" sz="quarter" idx="10"/>
          </p:nvPr>
        </p:nvSpPr>
        <p:spPr/>
        <p:txBody>
          <a:bodyPr/>
          <a:lstStyle/>
          <a:p>
            <a:endParaRPr lang="de-DE" dirty="0"/>
          </a:p>
        </p:txBody>
      </p:sp>
      <p:sp>
        <p:nvSpPr>
          <p:cNvPr id="6" name="Textfeld 5"/>
          <p:cNvSpPr txBox="1"/>
          <p:nvPr/>
        </p:nvSpPr>
        <p:spPr>
          <a:xfrm>
            <a:off x="273923" y="1697565"/>
            <a:ext cx="2376264" cy="443198"/>
          </a:xfrm>
          <a:prstGeom prst="rect">
            <a:avLst/>
          </a:prstGeom>
          <a:noFill/>
        </p:spPr>
        <p:txBody>
          <a:bodyPr wrap="square" lIns="0" tIns="0" rIns="0" bIns="0" rtlCol="0">
            <a:spAutoFit/>
          </a:bodyPr>
          <a:lstStyle/>
          <a:p>
            <a:pPr>
              <a:lnSpc>
                <a:spcPct val="90000"/>
              </a:lnSpc>
              <a:spcBef>
                <a:spcPts val="600"/>
              </a:spcBef>
              <a:spcAft>
                <a:spcPts val="0"/>
              </a:spcAft>
            </a:pPr>
            <a:r>
              <a:rPr lang="de-DE" sz="1600" dirty="0"/>
              <a:t>…beim Känguru- Wettbewerb (Mathematik)</a:t>
            </a:r>
          </a:p>
        </p:txBody>
      </p:sp>
      <p:sp>
        <p:nvSpPr>
          <p:cNvPr id="11" name="Textfeld 10"/>
          <p:cNvSpPr txBox="1"/>
          <p:nvPr/>
        </p:nvSpPr>
        <p:spPr>
          <a:xfrm rot="10800000" flipH="1" flipV="1">
            <a:off x="349578" y="3632435"/>
            <a:ext cx="2088167" cy="443198"/>
          </a:xfrm>
          <a:prstGeom prst="rect">
            <a:avLst/>
          </a:prstGeom>
          <a:noFill/>
        </p:spPr>
        <p:txBody>
          <a:bodyPr wrap="square" lIns="0" tIns="0" rIns="0" bIns="0" rtlCol="0">
            <a:spAutoFit/>
          </a:bodyPr>
          <a:lstStyle/>
          <a:p>
            <a:pPr>
              <a:lnSpc>
                <a:spcPct val="90000"/>
              </a:lnSpc>
              <a:spcBef>
                <a:spcPts val="600"/>
              </a:spcBef>
              <a:spcAft>
                <a:spcPts val="0"/>
              </a:spcAft>
            </a:pPr>
            <a:r>
              <a:rPr lang="de-DE" sz="1600" dirty="0"/>
              <a:t>…bei der </a:t>
            </a:r>
            <a:r>
              <a:rPr lang="de-DE" sz="1600" dirty="0" err="1"/>
              <a:t>Sanitäterausbildung</a:t>
            </a:r>
            <a:r>
              <a:rPr lang="de-DE" sz="1600" dirty="0"/>
              <a:t> </a:t>
            </a:r>
          </a:p>
        </p:txBody>
      </p:sp>
      <p:pic>
        <p:nvPicPr>
          <p:cNvPr id="12" name="Grafik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82788" y="2391632"/>
            <a:ext cx="1949869" cy="1462402"/>
          </a:xfrm>
          <a:prstGeom prst="rect">
            <a:avLst/>
          </a:prstGeom>
        </p:spPr>
      </p:pic>
      <p:sp>
        <p:nvSpPr>
          <p:cNvPr id="13" name="Textfeld 12"/>
          <p:cNvSpPr txBox="1"/>
          <p:nvPr/>
        </p:nvSpPr>
        <p:spPr>
          <a:xfrm>
            <a:off x="6876256" y="1676832"/>
            <a:ext cx="2520280" cy="741742"/>
          </a:xfrm>
          <a:prstGeom prst="rect">
            <a:avLst/>
          </a:prstGeom>
          <a:noFill/>
        </p:spPr>
        <p:txBody>
          <a:bodyPr wrap="square" lIns="0" tIns="0" rIns="0" bIns="0" rtlCol="0">
            <a:spAutoFit/>
          </a:bodyPr>
          <a:lstStyle/>
          <a:p>
            <a:pPr>
              <a:lnSpc>
                <a:spcPct val="90000"/>
              </a:lnSpc>
              <a:spcBef>
                <a:spcPts val="600"/>
              </a:spcBef>
              <a:spcAft>
                <a:spcPts val="0"/>
              </a:spcAft>
            </a:pPr>
            <a:endParaRPr lang="de-DE" sz="1600" dirty="0"/>
          </a:p>
          <a:p>
            <a:pPr>
              <a:lnSpc>
                <a:spcPct val="90000"/>
              </a:lnSpc>
              <a:spcBef>
                <a:spcPts val="600"/>
              </a:spcBef>
              <a:spcAft>
                <a:spcPts val="0"/>
              </a:spcAft>
            </a:pPr>
            <a:r>
              <a:rPr lang="de-DE" sz="1600" dirty="0"/>
              <a:t>…bei der </a:t>
            </a:r>
            <a:r>
              <a:rPr lang="de-DE" sz="1600" dirty="0" err="1"/>
              <a:t>Schulhundausbildung</a:t>
            </a:r>
            <a:endParaRPr lang="de-DE" sz="1600" dirty="0"/>
          </a:p>
        </p:txBody>
      </p:sp>
      <p:pic>
        <p:nvPicPr>
          <p:cNvPr id="14" name="Grafik 13"/>
          <p:cNvPicPr>
            <a:picLocks noChangeAspect="1"/>
          </p:cNvPicPr>
          <p:nvPr/>
        </p:nvPicPr>
        <p:blipFill rotWithShape="1">
          <a:blip r:embed="rId6" cstate="print">
            <a:extLst>
              <a:ext uri="{28A0092B-C50C-407E-A947-70E740481C1C}">
                <a14:useLocalDpi xmlns:a14="http://schemas.microsoft.com/office/drawing/2010/main" val="0"/>
              </a:ext>
            </a:extLst>
          </a:blip>
          <a:srcRect l="16277" t="37185" r="16703" b="26259"/>
          <a:stretch/>
        </p:blipFill>
        <p:spPr>
          <a:xfrm>
            <a:off x="3302538" y="2527387"/>
            <a:ext cx="2990546" cy="1223404"/>
          </a:xfrm>
          <a:prstGeom prst="rect">
            <a:avLst/>
          </a:prstGeom>
        </p:spPr>
      </p:pic>
      <p:pic>
        <p:nvPicPr>
          <p:cNvPr id="15" name="Grafik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3378" y="4261942"/>
            <a:ext cx="2154367" cy="1615775"/>
          </a:xfrm>
          <a:prstGeom prst="rect">
            <a:avLst/>
          </a:prstGeom>
        </p:spPr>
      </p:pic>
      <p:pic>
        <p:nvPicPr>
          <p:cNvPr id="16" name="Grafik 15"/>
          <p:cNvPicPr>
            <a:picLocks noChangeAspect="1"/>
          </p:cNvPicPr>
          <p:nvPr/>
        </p:nvPicPr>
        <p:blipFill>
          <a:blip r:embed="rId8"/>
          <a:stretch>
            <a:fillRect/>
          </a:stretch>
        </p:blipFill>
        <p:spPr>
          <a:xfrm>
            <a:off x="3409269" y="4265785"/>
            <a:ext cx="1943371" cy="1514686"/>
          </a:xfrm>
          <a:prstGeom prst="rect">
            <a:avLst/>
          </a:prstGeom>
        </p:spPr>
      </p:pic>
      <p:sp>
        <p:nvSpPr>
          <p:cNvPr id="17" name="Textfeld 16"/>
          <p:cNvSpPr txBox="1"/>
          <p:nvPr/>
        </p:nvSpPr>
        <p:spPr>
          <a:xfrm rot="10800000" flipH="1" flipV="1">
            <a:off x="3409269" y="3929543"/>
            <a:ext cx="2331034" cy="221599"/>
          </a:xfrm>
          <a:prstGeom prst="rect">
            <a:avLst/>
          </a:prstGeom>
          <a:noFill/>
        </p:spPr>
        <p:txBody>
          <a:bodyPr wrap="square" lIns="0" tIns="0" rIns="0" bIns="0" rtlCol="0" anchor="t">
            <a:spAutoFit/>
          </a:bodyPr>
          <a:lstStyle/>
          <a:p>
            <a:pPr>
              <a:lnSpc>
                <a:spcPct val="90000"/>
              </a:lnSpc>
              <a:spcBef>
                <a:spcPts val="600"/>
              </a:spcBef>
              <a:spcAft>
                <a:spcPts val="0"/>
              </a:spcAft>
            </a:pPr>
            <a:r>
              <a:rPr lang="de-DE" sz="1600" dirty="0"/>
              <a:t>...bei The Big Challenge</a:t>
            </a:r>
          </a:p>
        </p:txBody>
      </p:sp>
      <p:sp>
        <p:nvSpPr>
          <p:cNvPr id="18" name="Textfeld 17"/>
          <p:cNvSpPr txBox="1"/>
          <p:nvPr/>
        </p:nvSpPr>
        <p:spPr>
          <a:xfrm rot="10800000" flipH="1" flipV="1">
            <a:off x="6228184" y="3865433"/>
            <a:ext cx="2753161" cy="443198"/>
          </a:xfrm>
          <a:prstGeom prst="rect">
            <a:avLst/>
          </a:prstGeom>
          <a:noFill/>
        </p:spPr>
        <p:txBody>
          <a:bodyPr wrap="square" lIns="0" tIns="0" rIns="0" bIns="0" rtlCol="0">
            <a:spAutoFit/>
          </a:bodyPr>
          <a:lstStyle/>
          <a:p>
            <a:pPr>
              <a:lnSpc>
                <a:spcPct val="90000"/>
              </a:lnSpc>
              <a:spcBef>
                <a:spcPts val="600"/>
              </a:spcBef>
              <a:spcAft>
                <a:spcPts val="0"/>
              </a:spcAft>
            </a:pPr>
            <a:r>
              <a:rPr lang="de-DE" sz="1600" dirty="0"/>
              <a:t>…auf der Jahrgangsstufenversammlung</a:t>
            </a:r>
          </a:p>
        </p:txBody>
      </p:sp>
      <p:graphicFrame>
        <p:nvGraphicFramePr>
          <p:cNvPr id="7" name="Objekt 6"/>
          <p:cNvGraphicFramePr>
            <a:graphicFrameLocks noChangeAspect="1"/>
          </p:cNvGraphicFramePr>
          <p:nvPr>
            <p:extLst>
              <p:ext uri="{D42A27DB-BD31-4B8C-83A1-F6EECF244321}">
                <p14:modId xmlns:p14="http://schemas.microsoft.com/office/powerpoint/2010/main" val="3856299847"/>
              </p:ext>
            </p:extLst>
          </p:nvPr>
        </p:nvGraphicFramePr>
        <p:xfrm>
          <a:off x="7020272" y="4365927"/>
          <a:ext cx="1674903" cy="2370234"/>
        </p:xfrm>
        <a:graphic>
          <a:graphicData uri="http://schemas.openxmlformats.org/presentationml/2006/ole">
            <mc:AlternateContent xmlns:mc="http://schemas.openxmlformats.org/markup-compatibility/2006">
              <mc:Choice xmlns:v="urn:schemas-microsoft-com:vml" Requires="v">
                <p:oleObj spid="_x0000_s22536" name="Acrobat Document" r:id="rId9" imgW="5667359" imgH="8020007" progId="AcroExch.Document.11">
                  <p:embed/>
                </p:oleObj>
              </mc:Choice>
              <mc:Fallback>
                <p:oleObj name="Acrobat Document" r:id="rId9" imgW="5667359" imgH="8020007" progId="AcroExch.Document.11">
                  <p:embed/>
                  <p:pic>
                    <p:nvPicPr>
                      <p:cNvPr id="7" name="Objekt 6"/>
                      <p:cNvPicPr/>
                      <p:nvPr/>
                    </p:nvPicPr>
                    <p:blipFill>
                      <a:blip r:embed="rId10"/>
                      <a:stretch>
                        <a:fillRect/>
                      </a:stretch>
                    </p:blipFill>
                    <p:spPr>
                      <a:xfrm>
                        <a:off x="7020272" y="4365927"/>
                        <a:ext cx="1674903" cy="2370234"/>
                      </a:xfrm>
                      <a:prstGeom prst="rect">
                        <a:avLst/>
                      </a:prstGeom>
                    </p:spPr>
                  </p:pic>
                </p:oleObj>
              </mc:Fallback>
            </mc:AlternateContent>
          </a:graphicData>
        </a:graphic>
      </p:graphicFrame>
      <p:sp>
        <p:nvSpPr>
          <p:cNvPr id="8" name="Textfeld 16">
            <a:extLst>
              <a:ext uri="{FF2B5EF4-FFF2-40B4-BE49-F238E27FC236}">
                <a16:creationId xmlns:a16="http://schemas.microsoft.com/office/drawing/2014/main" id="{6496E2CA-A5A6-29DD-0CC9-DBE8F554A1A6}"/>
              </a:ext>
            </a:extLst>
          </p:cNvPr>
          <p:cNvSpPr txBox="1"/>
          <p:nvPr/>
        </p:nvSpPr>
        <p:spPr>
          <a:xfrm rot="10800000" flipH="1" flipV="1">
            <a:off x="2978851" y="5875187"/>
            <a:ext cx="3182305" cy="443198"/>
          </a:xfrm>
          <a:prstGeom prst="rect">
            <a:avLst/>
          </a:prstGeom>
          <a:noFill/>
        </p:spPr>
        <p:txBody>
          <a:bodyPr wrap="square" lIns="0" tIns="0" rIns="0" bIns="0" rtlCol="0" anchor="t">
            <a:spAutoFit/>
          </a:bodyPr>
          <a:lstStyle/>
          <a:p>
            <a:pPr>
              <a:lnSpc>
                <a:spcPct val="90000"/>
              </a:lnSpc>
              <a:spcBef>
                <a:spcPts val="600"/>
              </a:spcBef>
            </a:pPr>
            <a:r>
              <a:rPr lang="de-DE" sz="1600" dirty="0"/>
              <a:t>Letztes Schuljahr hat eine unserer Schülerinnen Platz 1 in NRW belegt!</a:t>
            </a:r>
            <a:endParaRPr lang="de-DE" dirty="0"/>
          </a:p>
        </p:txBody>
      </p:sp>
      <p:pic>
        <p:nvPicPr>
          <p:cNvPr id="9" name="Grafik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21794" y="896983"/>
            <a:ext cx="1353774" cy="1243780"/>
          </a:xfrm>
          <a:prstGeom prst="rect">
            <a:avLst/>
          </a:prstGeom>
        </p:spPr>
      </p:pic>
      <p:sp>
        <p:nvSpPr>
          <p:cNvPr id="19" name="Textfeld 18"/>
          <p:cNvSpPr txBox="1"/>
          <p:nvPr/>
        </p:nvSpPr>
        <p:spPr>
          <a:xfrm>
            <a:off x="5076056" y="1484784"/>
            <a:ext cx="2141099" cy="221599"/>
          </a:xfrm>
          <a:prstGeom prst="rect">
            <a:avLst/>
          </a:prstGeom>
          <a:noFill/>
        </p:spPr>
        <p:txBody>
          <a:bodyPr wrap="none" lIns="0" tIns="0" rIns="0" bIns="0" rtlCol="0">
            <a:spAutoFit/>
          </a:bodyPr>
          <a:lstStyle/>
          <a:p>
            <a:pPr>
              <a:lnSpc>
                <a:spcPct val="90000"/>
              </a:lnSpc>
              <a:spcBef>
                <a:spcPts val="600"/>
              </a:spcBef>
              <a:spcAft>
                <a:spcPts val="0"/>
              </a:spcAft>
            </a:pPr>
            <a:r>
              <a:rPr lang="de-DE" sz="1600" dirty="0"/>
              <a:t>…beim GL-Wettbewerb</a:t>
            </a:r>
          </a:p>
        </p:txBody>
      </p:sp>
    </p:spTree>
    <p:extLst>
      <p:ext uri="{BB962C8B-B14F-4D97-AF65-F5344CB8AC3E}">
        <p14:creationId xmlns:p14="http://schemas.microsoft.com/office/powerpoint/2010/main" val="12744817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59FD7DC-6C88-2B4A-A9DE-898ED9D9D8AE}"/>
              </a:ext>
            </a:extLst>
          </p:cNvPr>
          <p:cNvSpPr>
            <a:spLocks noGrp="1"/>
          </p:cNvSpPr>
          <p:nvPr>
            <p:ph type="title"/>
          </p:nvPr>
        </p:nvSpPr>
        <p:spPr>
          <a:xfrm>
            <a:off x="323528" y="535350"/>
            <a:ext cx="8639999" cy="369332"/>
          </a:xfrm>
        </p:spPr>
        <p:txBody>
          <a:bodyPr/>
          <a:lstStyle/>
          <a:p>
            <a:r>
              <a:rPr lang="de-DE" sz="2400" i="1" dirty="0">
                <a:solidFill>
                  <a:srgbClr val="558ED5"/>
                </a:solidFill>
              </a:rPr>
              <a:t>„Sportlich, gesund und nachhaltig“</a:t>
            </a:r>
          </a:p>
        </p:txBody>
      </p:sp>
      <p:sp>
        <p:nvSpPr>
          <p:cNvPr id="12" name="Textfeld 11">
            <a:extLst>
              <a:ext uri="{FF2B5EF4-FFF2-40B4-BE49-F238E27FC236}">
                <a16:creationId xmlns:a16="http://schemas.microsoft.com/office/drawing/2014/main" id="{C9740C84-4E33-0049-8795-CA5BA6E5CA4A}"/>
              </a:ext>
            </a:extLst>
          </p:cNvPr>
          <p:cNvSpPr txBox="1"/>
          <p:nvPr/>
        </p:nvSpPr>
        <p:spPr>
          <a:xfrm>
            <a:off x="673107" y="1571500"/>
            <a:ext cx="2409162" cy="2188420"/>
          </a:xfrm>
          <a:prstGeom prst="rect">
            <a:avLst/>
          </a:prstGeom>
          <a:noFill/>
        </p:spPr>
        <p:txBody>
          <a:bodyPr wrap="square" lIns="0" tIns="0" rIns="0" bIns="0" rtlCol="0" anchor="t">
            <a:spAutoFit/>
          </a:bodyPr>
          <a:lstStyle/>
          <a:p>
            <a:pPr algn="ctr">
              <a:lnSpc>
                <a:spcPct val="150000"/>
              </a:lnSpc>
              <a:spcBef>
                <a:spcPts val="600"/>
              </a:spcBef>
            </a:pPr>
            <a:r>
              <a:rPr lang="de-DE" b="1" i="1" dirty="0">
                <a:solidFill>
                  <a:srgbClr val="92D050"/>
                </a:solidFill>
              </a:rPr>
              <a:t>Gesundes Frühstück: </a:t>
            </a:r>
            <a:endParaRPr lang="en-US" b="1">
              <a:solidFill>
                <a:srgbClr val="4B5564"/>
              </a:solidFill>
            </a:endParaRPr>
          </a:p>
          <a:p>
            <a:pPr algn="ctr">
              <a:lnSpc>
                <a:spcPct val="150000"/>
              </a:lnSpc>
              <a:spcBef>
                <a:spcPts val="600"/>
              </a:spcBef>
              <a:spcAft>
                <a:spcPts val="0"/>
              </a:spcAft>
            </a:pPr>
            <a:r>
              <a:rPr lang="de-DE" i="1" dirty="0">
                <a:solidFill>
                  <a:srgbClr val="92D050"/>
                </a:solidFill>
              </a:rPr>
              <a:t>Wir retten Lebensmittel und ernähren uns gesund!</a:t>
            </a:r>
            <a:endParaRPr lang="en-US"/>
          </a:p>
          <a:p>
            <a:pPr>
              <a:lnSpc>
                <a:spcPct val="150000"/>
              </a:lnSpc>
              <a:spcBef>
                <a:spcPts val="600"/>
              </a:spcBef>
            </a:pPr>
            <a:endParaRPr lang="de-DE" i="1" dirty="0">
              <a:solidFill>
                <a:srgbClr val="92D050"/>
              </a:solidFill>
            </a:endParaRPr>
          </a:p>
        </p:txBody>
      </p:sp>
      <p:pic>
        <p:nvPicPr>
          <p:cNvPr id="2" name="Picture 1" descr="A group of boys running on a path with trees&#10;&#10;Description automatically generated">
            <a:extLst>
              <a:ext uri="{FF2B5EF4-FFF2-40B4-BE49-F238E27FC236}">
                <a16:creationId xmlns:a16="http://schemas.microsoft.com/office/drawing/2014/main" id="{A6CD54BD-4F9F-A275-9B26-567C92643915}"/>
              </a:ext>
            </a:extLst>
          </p:cNvPr>
          <p:cNvPicPr>
            <a:picLocks noChangeAspect="1"/>
          </p:cNvPicPr>
          <p:nvPr/>
        </p:nvPicPr>
        <p:blipFill>
          <a:blip r:embed="rId3"/>
          <a:stretch>
            <a:fillRect/>
          </a:stretch>
        </p:blipFill>
        <p:spPr>
          <a:xfrm>
            <a:off x="3674101" y="2659029"/>
            <a:ext cx="2551425" cy="3309439"/>
          </a:xfrm>
          <a:prstGeom prst="rect">
            <a:avLst/>
          </a:prstGeom>
        </p:spPr>
      </p:pic>
      <p:pic>
        <p:nvPicPr>
          <p:cNvPr id="8" name="Content Placeholder 7" descr="A white paper with black writing on it&#10;&#10;Description automatically generated">
            <a:extLst>
              <a:ext uri="{FF2B5EF4-FFF2-40B4-BE49-F238E27FC236}">
                <a16:creationId xmlns:a16="http://schemas.microsoft.com/office/drawing/2014/main" id="{CAA60B08-DFF8-D106-3067-C391FA830893}"/>
              </a:ext>
            </a:extLst>
          </p:cNvPr>
          <p:cNvPicPr>
            <a:picLocks noGrp="1" noChangeAspect="1"/>
          </p:cNvPicPr>
          <p:nvPr>
            <p:ph idx="1"/>
          </p:nvPr>
        </p:nvPicPr>
        <p:blipFill>
          <a:blip r:embed="rId4"/>
          <a:stretch>
            <a:fillRect/>
          </a:stretch>
        </p:blipFill>
        <p:spPr>
          <a:xfrm>
            <a:off x="6262375" y="2668780"/>
            <a:ext cx="2416561" cy="3301787"/>
          </a:xfrm>
        </p:spPr>
      </p:pic>
      <p:sp>
        <p:nvSpPr>
          <p:cNvPr id="9" name="Textfeld 11">
            <a:extLst>
              <a:ext uri="{FF2B5EF4-FFF2-40B4-BE49-F238E27FC236}">
                <a16:creationId xmlns:a16="http://schemas.microsoft.com/office/drawing/2014/main" id="{27266CE2-B8D7-767B-9E44-B16DE5B18779}"/>
              </a:ext>
            </a:extLst>
          </p:cNvPr>
          <p:cNvSpPr txBox="1"/>
          <p:nvPr/>
        </p:nvSpPr>
        <p:spPr>
          <a:xfrm>
            <a:off x="4067944" y="1572729"/>
            <a:ext cx="2409162" cy="1323439"/>
          </a:xfrm>
          <a:prstGeom prst="rect">
            <a:avLst/>
          </a:prstGeom>
          <a:noFill/>
        </p:spPr>
        <p:txBody>
          <a:bodyPr wrap="square" lIns="0" tIns="0" rIns="0" bIns="0" rtlCol="0" anchor="t">
            <a:spAutoFit/>
          </a:bodyPr>
          <a:lstStyle/>
          <a:p>
            <a:pPr>
              <a:lnSpc>
                <a:spcPct val="150000"/>
              </a:lnSpc>
              <a:spcBef>
                <a:spcPts val="600"/>
              </a:spcBef>
              <a:spcAft>
                <a:spcPts val="0"/>
              </a:spcAft>
            </a:pPr>
            <a:r>
              <a:rPr lang="de-DE" b="1" i="1" dirty="0" smtClean="0">
                <a:solidFill>
                  <a:srgbClr val="92D050"/>
                </a:solidFill>
              </a:rPr>
              <a:t>Spendenlauf und Stadtradeln</a:t>
            </a:r>
            <a:endParaRPr lang="de-DE" b="1" i="1" dirty="0">
              <a:solidFill>
                <a:srgbClr val="92D050"/>
              </a:solidFill>
            </a:endParaRPr>
          </a:p>
          <a:p>
            <a:pPr>
              <a:lnSpc>
                <a:spcPct val="150000"/>
              </a:lnSpc>
              <a:spcBef>
                <a:spcPts val="600"/>
              </a:spcBef>
            </a:pPr>
            <a:endParaRPr lang="de-DE" i="1" dirty="0">
              <a:solidFill>
                <a:srgbClr val="92D050"/>
              </a:solidFill>
            </a:endParaRPr>
          </a:p>
        </p:txBody>
      </p:sp>
      <p:sp>
        <p:nvSpPr>
          <p:cNvPr id="10" name="Textfeld 11">
            <a:extLst>
              <a:ext uri="{FF2B5EF4-FFF2-40B4-BE49-F238E27FC236}">
                <a16:creationId xmlns:a16="http://schemas.microsoft.com/office/drawing/2014/main" id="{F704A29C-CACC-E41F-BF8A-BDCCE58D6CA1}"/>
              </a:ext>
            </a:extLst>
          </p:cNvPr>
          <p:cNvSpPr txBox="1"/>
          <p:nvPr/>
        </p:nvSpPr>
        <p:spPr>
          <a:xfrm>
            <a:off x="6335498" y="1695842"/>
            <a:ext cx="2409162" cy="1357423"/>
          </a:xfrm>
          <a:prstGeom prst="rect">
            <a:avLst/>
          </a:prstGeom>
          <a:noFill/>
        </p:spPr>
        <p:txBody>
          <a:bodyPr wrap="square" lIns="0" tIns="0" rIns="0" bIns="0" rtlCol="0" anchor="t">
            <a:spAutoFit/>
          </a:bodyPr>
          <a:lstStyle/>
          <a:p>
            <a:pPr algn="ctr">
              <a:lnSpc>
                <a:spcPct val="150000"/>
              </a:lnSpc>
              <a:spcBef>
                <a:spcPts val="600"/>
              </a:spcBef>
            </a:pPr>
            <a:r>
              <a:rPr lang="de-DE" b="1" i="1" dirty="0">
                <a:solidFill>
                  <a:srgbClr val="92D050"/>
                </a:solidFill>
              </a:rPr>
              <a:t>Faire Woche: </a:t>
            </a:r>
            <a:endParaRPr lang="en-US" b="1" dirty="0"/>
          </a:p>
          <a:p>
            <a:pPr algn="ctr">
              <a:lnSpc>
                <a:spcPct val="150000"/>
              </a:lnSpc>
              <a:spcBef>
                <a:spcPts val="600"/>
              </a:spcBef>
            </a:pPr>
            <a:r>
              <a:rPr lang="de-DE" i="1" dirty="0">
                <a:solidFill>
                  <a:srgbClr val="92D050"/>
                </a:solidFill>
              </a:rPr>
              <a:t>Projekttag im P-Dorf</a:t>
            </a:r>
            <a:endParaRPr lang="de-DE" dirty="0"/>
          </a:p>
          <a:p>
            <a:pPr>
              <a:lnSpc>
                <a:spcPct val="150000"/>
              </a:lnSpc>
              <a:spcBef>
                <a:spcPts val="600"/>
              </a:spcBef>
            </a:pPr>
            <a:endParaRPr lang="de-DE" i="1" dirty="0">
              <a:solidFill>
                <a:srgbClr val="92D050"/>
              </a:solidFill>
            </a:endParaRPr>
          </a:p>
        </p:txBody>
      </p:sp>
      <p:pic>
        <p:nvPicPr>
          <p:cNvPr id="3" name="Picture 2" descr="A group of people standing under a tent&#10;&#10;Description automatically generated">
            <a:extLst>
              <a:ext uri="{FF2B5EF4-FFF2-40B4-BE49-F238E27FC236}">
                <a16:creationId xmlns:a16="http://schemas.microsoft.com/office/drawing/2014/main" id="{020587AA-E5EA-2EDE-09F2-4A37495E76CD}"/>
              </a:ext>
            </a:extLst>
          </p:cNvPr>
          <p:cNvPicPr>
            <a:picLocks noChangeAspect="1"/>
          </p:cNvPicPr>
          <p:nvPr/>
        </p:nvPicPr>
        <p:blipFill>
          <a:blip r:embed="rId5"/>
          <a:stretch>
            <a:fillRect/>
          </a:stretch>
        </p:blipFill>
        <p:spPr>
          <a:xfrm>
            <a:off x="328310" y="3356992"/>
            <a:ext cx="3357264" cy="2366523"/>
          </a:xfrm>
          <a:prstGeom prst="rect">
            <a:avLst/>
          </a:prstGeom>
        </p:spPr>
      </p:pic>
      <p:sp>
        <p:nvSpPr>
          <p:cNvPr id="11" name="Textfeld 11">
            <a:extLst>
              <a:ext uri="{FF2B5EF4-FFF2-40B4-BE49-F238E27FC236}">
                <a16:creationId xmlns:a16="http://schemas.microsoft.com/office/drawing/2014/main" id="{27266CE2-B8D7-767B-9E44-B16DE5B18779}"/>
              </a:ext>
            </a:extLst>
          </p:cNvPr>
          <p:cNvSpPr txBox="1"/>
          <p:nvPr/>
        </p:nvSpPr>
        <p:spPr>
          <a:xfrm>
            <a:off x="3419872" y="6033465"/>
            <a:ext cx="3345266" cy="907941"/>
          </a:xfrm>
          <a:prstGeom prst="rect">
            <a:avLst/>
          </a:prstGeom>
          <a:noFill/>
        </p:spPr>
        <p:txBody>
          <a:bodyPr wrap="square" lIns="0" tIns="0" rIns="0" bIns="0" rtlCol="0" anchor="t">
            <a:spAutoFit/>
          </a:bodyPr>
          <a:lstStyle/>
          <a:p>
            <a:pPr>
              <a:lnSpc>
                <a:spcPct val="150000"/>
              </a:lnSpc>
              <a:spcBef>
                <a:spcPts val="600"/>
              </a:spcBef>
              <a:spcAft>
                <a:spcPts val="0"/>
              </a:spcAft>
            </a:pPr>
            <a:r>
              <a:rPr lang="de-DE" b="1" i="1" dirty="0" smtClean="0">
                <a:solidFill>
                  <a:srgbClr val="92D050"/>
                </a:solidFill>
              </a:rPr>
              <a:t>Schwimmen und Eislaufen</a:t>
            </a:r>
            <a:endParaRPr lang="de-DE" b="1" i="1" dirty="0">
              <a:solidFill>
                <a:srgbClr val="92D050"/>
              </a:solidFill>
            </a:endParaRPr>
          </a:p>
          <a:p>
            <a:pPr>
              <a:lnSpc>
                <a:spcPct val="150000"/>
              </a:lnSpc>
              <a:spcBef>
                <a:spcPts val="600"/>
              </a:spcBef>
            </a:pPr>
            <a:endParaRPr lang="de-DE" i="1" dirty="0">
              <a:solidFill>
                <a:srgbClr val="92D050"/>
              </a:solidFill>
            </a:endParaRPr>
          </a:p>
        </p:txBody>
      </p:sp>
    </p:spTree>
    <p:extLst>
      <p:ext uri="{BB962C8B-B14F-4D97-AF65-F5344CB8AC3E}">
        <p14:creationId xmlns:p14="http://schemas.microsoft.com/office/powerpoint/2010/main" val="21710359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1"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250825" y="814025"/>
            <a:ext cx="8639999" cy="369332"/>
          </a:xfrm>
        </p:spPr>
        <p:txBody>
          <a:bodyPr/>
          <a:lstStyle/>
          <a:p>
            <a:pPr>
              <a:spcAft>
                <a:spcPct val="0"/>
              </a:spcAft>
            </a:pPr>
            <a:r>
              <a:rPr lang="de-DE" sz="2400" i="1" dirty="0">
                <a:solidFill>
                  <a:srgbClr val="558ED5"/>
                </a:solidFill>
              </a:rPr>
              <a:t>„Füreinander“</a:t>
            </a:r>
          </a:p>
        </p:txBody>
      </p:sp>
      <p:sp>
        <p:nvSpPr>
          <p:cNvPr id="7" name="Titel 2"/>
          <p:cNvSpPr txBox="1">
            <a:spLocks/>
          </p:cNvSpPr>
          <p:nvPr/>
        </p:nvSpPr>
        <p:spPr>
          <a:xfrm>
            <a:off x="250825" y="1183357"/>
            <a:ext cx="8290704" cy="276999"/>
          </a:xfrm>
          <a:prstGeom prst="rect">
            <a:avLst/>
          </a:prstGeom>
        </p:spPr>
        <p:txBody>
          <a:bodyPr vert="horz" wrap="square"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sz="1800" i="1" dirty="0" err="1">
                <a:solidFill>
                  <a:srgbClr val="92D050"/>
                </a:solidFill>
              </a:rPr>
              <a:t>Eltern</a:t>
            </a:r>
            <a:r>
              <a:rPr lang="en-US" sz="1800" i="1" dirty="0">
                <a:solidFill>
                  <a:srgbClr val="92D050"/>
                </a:solidFill>
              </a:rPr>
              <a:t>, </a:t>
            </a:r>
            <a:r>
              <a:rPr lang="en-US" sz="1800" i="1" dirty="0" err="1">
                <a:solidFill>
                  <a:srgbClr val="92D050"/>
                </a:solidFill>
              </a:rPr>
              <a:t>Lehrer:innen</a:t>
            </a:r>
            <a:r>
              <a:rPr lang="en-US" sz="1800" i="1" dirty="0">
                <a:solidFill>
                  <a:srgbClr val="92D050"/>
                </a:solidFill>
              </a:rPr>
              <a:t> und </a:t>
            </a:r>
            <a:r>
              <a:rPr lang="en-US" sz="1800" i="1" dirty="0" err="1">
                <a:solidFill>
                  <a:srgbClr val="92D050"/>
                </a:solidFill>
              </a:rPr>
              <a:t>Sozialpädagog:innen</a:t>
            </a:r>
            <a:r>
              <a:rPr lang="en-US" sz="1800" i="1" dirty="0">
                <a:solidFill>
                  <a:srgbClr val="92D050"/>
                </a:solidFill>
              </a:rPr>
              <a:t> </a:t>
            </a:r>
            <a:r>
              <a:rPr lang="en-US" sz="1800" i="1" dirty="0" err="1">
                <a:solidFill>
                  <a:srgbClr val="92D050"/>
                </a:solidFill>
              </a:rPr>
              <a:t>gestalten</a:t>
            </a:r>
            <a:r>
              <a:rPr lang="en-US" sz="1800" i="1" dirty="0">
                <a:solidFill>
                  <a:srgbClr val="92D050"/>
                </a:solidFill>
              </a:rPr>
              <a:t> </a:t>
            </a:r>
            <a:r>
              <a:rPr lang="en-US" sz="1800" i="1" dirty="0" err="1">
                <a:solidFill>
                  <a:srgbClr val="92D050"/>
                </a:solidFill>
              </a:rPr>
              <a:t>Schule</a:t>
            </a:r>
            <a:r>
              <a:rPr lang="en-US" sz="1800" i="1" dirty="0">
                <a:solidFill>
                  <a:srgbClr val="92D050"/>
                </a:solidFill>
              </a:rPr>
              <a:t> </a:t>
            </a:r>
            <a:r>
              <a:rPr lang="en-US" sz="1800" i="1" dirty="0" err="1">
                <a:solidFill>
                  <a:srgbClr val="92D050"/>
                </a:solidFill>
              </a:rPr>
              <a:t>zusammen</a:t>
            </a:r>
            <a:endParaRPr lang="en-US" sz="1800" i="1" dirty="0">
              <a:solidFill>
                <a:srgbClr val="92D050"/>
              </a:solidFill>
            </a:endParaRPr>
          </a:p>
        </p:txBody>
      </p:sp>
      <p:pic>
        <p:nvPicPr>
          <p:cNvPr id="4" name="Grafik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6021" y="3967140"/>
            <a:ext cx="3476100" cy="2315082"/>
          </a:xfrm>
          <a:prstGeom prst="rect">
            <a:avLst/>
          </a:prstGeom>
        </p:spPr>
      </p:pic>
      <p:pic>
        <p:nvPicPr>
          <p:cNvPr id="6" name="Grafik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0825" y="1638160"/>
            <a:ext cx="3502020" cy="2328980"/>
          </a:xfrm>
          <a:prstGeom prst="rect">
            <a:avLst/>
          </a:prstGeom>
        </p:spPr>
      </p:pic>
      <p:pic>
        <p:nvPicPr>
          <p:cNvPr id="8" name="Grafik 7"/>
          <p:cNvPicPr>
            <a:picLocks noChangeAspect="1"/>
          </p:cNvPicPr>
          <p:nvPr/>
        </p:nvPicPr>
        <p:blipFill rotWithShape="1">
          <a:blip r:embed="rId10" cstate="print">
            <a:extLst>
              <a:ext uri="{28A0092B-C50C-407E-A947-70E740481C1C}">
                <a14:useLocalDpi xmlns:a14="http://schemas.microsoft.com/office/drawing/2010/main" val="0"/>
              </a:ext>
            </a:extLst>
          </a:blip>
          <a:srcRect t="22743" b="19286"/>
          <a:stretch/>
        </p:blipFill>
        <p:spPr>
          <a:xfrm>
            <a:off x="3752845" y="1638160"/>
            <a:ext cx="5236845" cy="2276892"/>
          </a:xfrm>
          <a:prstGeom prst="rect">
            <a:avLst/>
          </a:prstGeom>
        </p:spPr>
      </p:pic>
      <p:pic>
        <p:nvPicPr>
          <p:cNvPr id="9" name="Grafik 8"/>
          <p:cNvPicPr>
            <a:picLocks noChangeAspect="1"/>
          </p:cNvPicPr>
          <p:nvPr/>
        </p:nvPicPr>
        <p:blipFill>
          <a:blip r:embed="rId11"/>
          <a:stretch>
            <a:fillRect/>
          </a:stretch>
        </p:blipFill>
        <p:spPr>
          <a:xfrm>
            <a:off x="4628960" y="3967140"/>
            <a:ext cx="3728564" cy="2486196"/>
          </a:xfrm>
          <a:prstGeom prst="rect">
            <a:avLst/>
          </a:prstGeom>
        </p:spPr>
      </p:pic>
    </p:spTree>
    <p:extLst>
      <p:ext uri="{BB962C8B-B14F-4D97-AF65-F5344CB8AC3E}">
        <p14:creationId xmlns:p14="http://schemas.microsoft.com/office/powerpoint/2010/main" val="392931160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3324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graphicFrame>
        <p:nvGraphicFramePr>
          <p:cNvPr id="4" name="Inhaltsplatzhalter 3"/>
          <p:cNvGraphicFramePr>
            <a:graphicFrameLocks noGrp="1"/>
          </p:cNvGraphicFramePr>
          <p:nvPr>
            <p:ph idx="1"/>
            <p:extLst>
              <p:ext uri="{D42A27DB-BD31-4B8C-83A1-F6EECF244321}">
                <p14:modId xmlns:p14="http://schemas.microsoft.com/office/powerpoint/2010/main" val="894855544"/>
              </p:ext>
            </p:extLst>
          </p:nvPr>
        </p:nvGraphicFramePr>
        <p:xfrm>
          <a:off x="4537328" y="1544300"/>
          <a:ext cx="4474992" cy="431498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itel 2"/>
          <p:cNvSpPr>
            <a:spLocks noGrp="1"/>
          </p:cNvSpPr>
          <p:nvPr>
            <p:ph type="title"/>
          </p:nvPr>
        </p:nvSpPr>
        <p:spPr>
          <a:xfrm>
            <a:off x="250825" y="805636"/>
            <a:ext cx="8639999" cy="369332"/>
          </a:xfrm>
        </p:spPr>
        <p:txBody>
          <a:bodyPr/>
          <a:lstStyle/>
          <a:p>
            <a:pPr>
              <a:spcAft>
                <a:spcPct val="0"/>
              </a:spcAft>
            </a:pPr>
            <a:r>
              <a:rPr lang="de-DE" sz="2400" i="1" dirty="0">
                <a:solidFill>
                  <a:srgbClr val="558ED5"/>
                </a:solidFill>
              </a:rPr>
              <a:t>„Engagiert…“</a:t>
            </a:r>
          </a:p>
        </p:txBody>
      </p:sp>
      <p:sp>
        <p:nvSpPr>
          <p:cNvPr id="11" name="Inhaltsplatzhalter 7"/>
          <p:cNvSpPr txBox="1">
            <a:spLocks/>
          </p:cNvSpPr>
          <p:nvPr/>
        </p:nvSpPr>
        <p:spPr>
          <a:xfrm>
            <a:off x="392607" y="1988840"/>
            <a:ext cx="4141155" cy="3744416"/>
          </a:xfrm>
          <a:prstGeom prst="rect">
            <a:avLst/>
          </a:prstGeom>
        </p:spPr>
        <p:txBody>
          <a:bodyPr vert="horz" lIns="0" tIns="0" rIns="0" bIns="0" rtlCol="0">
            <a:noAutofit/>
          </a:bodyPr>
          <a:lstStyle>
            <a:lvl1pPr marL="180000" indent="-180000" algn="l" defTabSz="914400" rtl="0" eaLnBrk="1" latinLnBrk="0" hangingPunct="1">
              <a:spcBef>
                <a:spcPts val="1200"/>
              </a:spcBef>
              <a:spcAft>
                <a:spcPts val="0"/>
              </a:spcAft>
              <a:buClr>
                <a:schemeClr val="accent2"/>
              </a:buClr>
              <a:buFont typeface="Arial" panose="020B0604020202020204" pitchFamily="34" charset="0"/>
              <a:buChar char="•"/>
              <a:defRPr sz="1600" kern="1200">
                <a:solidFill>
                  <a:schemeClr val="tx2">
                    <a:lumMod val="75000"/>
                  </a:schemeClr>
                </a:solidFill>
                <a:latin typeface="+mn-lt"/>
                <a:ea typeface="+mn-ea"/>
                <a:cs typeface="+mn-cs"/>
              </a:defRPr>
            </a:lvl1pPr>
            <a:lvl2pPr marL="3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2pPr>
            <a:lvl3pPr marL="54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3pPr>
            <a:lvl4pPr marL="7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4pPr>
            <a:lvl5pPr marL="898525"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2">
                    <a:lumMod val="75000"/>
                  </a:schemeClr>
                </a:solidFill>
                <a:latin typeface="+mn-lt"/>
                <a:ea typeface="+mn-ea"/>
                <a:cs typeface="+mn-cs"/>
              </a:defRPr>
            </a:lvl5pPr>
            <a:lvl6pPr marL="10795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6pPr>
            <a:lvl7pPr marL="1260000" indent="-180000"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7pPr>
            <a:lvl8pPr marL="144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baseline="0">
                <a:solidFill>
                  <a:schemeClr val="tx1">
                    <a:lumMod val="60000"/>
                    <a:lumOff val="40000"/>
                  </a:schemeClr>
                </a:solidFill>
                <a:latin typeface="+mn-lt"/>
                <a:ea typeface="+mn-ea"/>
                <a:cs typeface="+mn-cs"/>
              </a:defRPr>
            </a:lvl8pPr>
            <a:lvl9pPr marL="1620000" indent="-180975" algn="l" defTabSz="914400" rtl="0" eaLnBrk="1" latinLnBrk="0" hangingPunct="1">
              <a:spcBef>
                <a:spcPts val="1200"/>
              </a:spcBef>
              <a:spcAft>
                <a:spcPts val="0"/>
              </a:spcAft>
              <a:buClr>
                <a:schemeClr val="accent2"/>
              </a:buClr>
              <a:buFont typeface="TKTypeMedium" panose="020B0603040202020204" pitchFamily="34" charset="0"/>
              <a:buChar char="−"/>
              <a:defRPr sz="1600" kern="1200">
                <a:solidFill>
                  <a:schemeClr val="tx1">
                    <a:lumMod val="60000"/>
                    <a:lumOff val="40000"/>
                  </a:schemeClr>
                </a:solidFill>
                <a:latin typeface="+mn-lt"/>
                <a:ea typeface="+mn-ea"/>
                <a:cs typeface="+mn-cs"/>
              </a:defRPr>
            </a:lvl9pPr>
          </a:lstStyle>
          <a:p>
            <a:pPr marL="0" indent="0">
              <a:buNone/>
            </a:pPr>
            <a:r>
              <a:rPr lang="de-DE" dirty="0">
                <a:solidFill>
                  <a:schemeClr val="tx1">
                    <a:lumMod val="50000"/>
                  </a:schemeClr>
                </a:solidFill>
              </a:rPr>
              <a:t>Grundlage:</a:t>
            </a:r>
          </a:p>
          <a:p>
            <a:pPr lvl="0"/>
            <a:r>
              <a:rPr lang="de-DE" dirty="0">
                <a:solidFill>
                  <a:schemeClr val="tx1">
                    <a:lumMod val="50000"/>
                  </a:schemeClr>
                </a:solidFill>
              </a:rPr>
              <a:t>Gegenseitige Wertschätzung</a:t>
            </a:r>
          </a:p>
          <a:p>
            <a:pPr lvl="0"/>
            <a:r>
              <a:rPr lang="de-DE" dirty="0">
                <a:solidFill>
                  <a:schemeClr val="tx1">
                    <a:lumMod val="50000"/>
                  </a:schemeClr>
                </a:solidFill>
              </a:rPr>
              <a:t>Eltern und </a:t>
            </a:r>
            <a:r>
              <a:rPr lang="de-DE" dirty="0" err="1">
                <a:solidFill>
                  <a:schemeClr val="tx1">
                    <a:lumMod val="50000"/>
                  </a:schemeClr>
                </a:solidFill>
              </a:rPr>
              <a:t>LehrerInnen</a:t>
            </a:r>
            <a:r>
              <a:rPr lang="de-DE" dirty="0">
                <a:solidFill>
                  <a:schemeClr val="tx1">
                    <a:lumMod val="50000"/>
                  </a:schemeClr>
                </a:solidFill>
              </a:rPr>
              <a:t> sehen sich als Team und ziehen an einem Strang</a:t>
            </a:r>
          </a:p>
          <a:p>
            <a:pPr lvl="0"/>
            <a:r>
              <a:rPr lang="de-DE" dirty="0">
                <a:solidFill>
                  <a:schemeClr val="tx1">
                    <a:lumMod val="50000"/>
                  </a:schemeClr>
                </a:solidFill>
              </a:rPr>
              <a:t>Eltern sollen mitentscheiden durch Einbindung in Schulgremien</a:t>
            </a:r>
          </a:p>
          <a:p>
            <a:pPr lvl="0"/>
            <a:r>
              <a:rPr lang="de-DE" dirty="0">
                <a:solidFill>
                  <a:schemeClr val="tx1">
                    <a:lumMod val="50000"/>
                  </a:schemeClr>
                </a:solidFill>
              </a:rPr>
              <a:t>Klare gemeinsame Absprachen und Transparenz</a:t>
            </a:r>
          </a:p>
          <a:p>
            <a:pPr lvl="0"/>
            <a:r>
              <a:rPr lang="de-DE" dirty="0">
                <a:solidFill>
                  <a:schemeClr val="tx1">
                    <a:lumMod val="50000"/>
                  </a:schemeClr>
                </a:solidFill>
              </a:rPr>
              <a:t>Regelmäßiger Informationsaustausch und Gesprächsbereitschaft</a:t>
            </a:r>
          </a:p>
          <a:p>
            <a:endParaRPr lang="de-DE" dirty="0">
              <a:solidFill>
                <a:schemeClr val="tx1">
                  <a:lumMod val="50000"/>
                </a:schemeClr>
              </a:solidFill>
            </a:endParaRPr>
          </a:p>
        </p:txBody>
      </p:sp>
      <p:sp>
        <p:nvSpPr>
          <p:cNvPr id="12" name="Nach oben gekrümmter Pfeil 11"/>
          <p:cNvSpPr/>
          <p:nvPr/>
        </p:nvSpPr>
        <p:spPr>
          <a:xfrm>
            <a:off x="2051720" y="5518975"/>
            <a:ext cx="4464496" cy="864096"/>
          </a:xfrm>
          <a:prstGeom prst="curvedUp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de-DE" sz="1600" dirty="0" err="1">
              <a:solidFill>
                <a:schemeClr val="tx1"/>
              </a:solidFill>
            </a:endParaRPr>
          </a:p>
        </p:txBody>
      </p:sp>
    </p:spTree>
    <p:extLst>
      <p:ext uri="{BB962C8B-B14F-4D97-AF65-F5344CB8AC3E}">
        <p14:creationId xmlns:p14="http://schemas.microsoft.com/office/powerpoint/2010/main" val="8745444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585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9"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510895" y="888165"/>
            <a:ext cx="8639999" cy="369332"/>
          </a:xfrm>
        </p:spPr>
        <p:txBody>
          <a:bodyPr/>
          <a:lstStyle/>
          <a:p>
            <a:pPr>
              <a:spcAft>
                <a:spcPct val="0"/>
              </a:spcAft>
            </a:pPr>
            <a:r>
              <a:rPr lang="de-DE" sz="2400" i="1" dirty="0">
                <a:solidFill>
                  <a:srgbClr val="558ED5"/>
                </a:solidFill>
              </a:rPr>
              <a:t>„Engagiert…“</a:t>
            </a:r>
            <a:endParaRPr lang="de-DE" sz="2400" b="1" dirty="0">
              <a:solidFill>
                <a:srgbClr val="558ED5"/>
              </a:solidFill>
            </a:endParaRPr>
          </a:p>
        </p:txBody>
      </p:sp>
      <p:sp>
        <p:nvSpPr>
          <p:cNvPr id="6" name="AutoShape 72"/>
          <p:cNvSpPr>
            <a:spLocks noChangeArrowheads="1"/>
          </p:cNvSpPr>
          <p:nvPr/>
        </p:nvSpPr>
        <p:spPr bwMode="auto">
          <a:xfrm>
            <a:off x="0" y="5445224"/>
            <a:ext cx="8280399" cy="936104"/>
          </a:xfrm>
          <a:prstGeom prst="rect">
            <a:avLst/>
          </a:prstGeom>
          <a:solidFill>
            <a:srgbClr val="558ED5"/>
          </a:solidFill>
          <a:ln w="12700" algn="ctr">
            <a:noFill/>
            <a:round/>
            <a:headEnd/>
            <a:tailEnd/>
          </a:ln>
          <a:effectLst/>
        </p:spPr>
        <p:txBody>
          <a:bodyPr lIns="252000" anchor="ctr"/>
          <a:lstStyle/>
          <a:p>
            <a:pPr marL="1588" eaLnBrk="0" hangingPunct="0">
              <a:lnSpc>
                <a:spcPct val="90000"/>
              </a:lnSpc>
              <a:defRPr/>
            </a:pPr>
            <a:r>
              <a:rPr lang="de-DE" sz="1600" kern="0" dirty="0">
                <a:solidFill>
                  <a:srgbClr val="FFFFFF"/>
                </a:solidFill>
              </a:rPr>
              <a:t>Schule im Aufbau stellt für Eltern eine besondere Chance dar, sich aktiv an der Gestaltung des Schullebens zu beteiligen!</a:t>
            </a:r>
          </a:p>
        </p:txBody>
      </p:sp>
      <p:graphicFrame>
        <p:nvGraphicFramePr>
          <p:cNvPr id="8" name="Diagramm 7"/>
          <p:cNvGraphicFramePr/>
          <p:nvPr>
            <p:extLst>
              <p:ext uri="{D42A27DB-BD31-4B8C-83A1-F6EECF244321}">
                <p14:modId xmlns:p14="http://schemas.microsoft.com/office/powerpoint/2010/main" val="4178023987"/>
              </p:ext>
            </p:extLst>
          </p:nvPr>
        </p:nvGraphicFramePr>
        <p:xfrm>
          <a:off x="2123728" y="1346884"/>
          <a:ext cx="6767096" cy="39543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4" name="Grafik 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flipH="1">
            <a:off x="107504" y="1478984"/>
            <a:ext cx="3584399" cy="2016224"/>
          </a:xfrm>
          <a:prstGeom prst="rect">
            <a:avLst/>
          </a:prstGeom>
        </p:spPr>
      </p:pic>
      <p:pic>
        <p:nvPicPr>
          <p:cNvPr id="7" name="Grafik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6243" y="4055687"/>
            <a:ext cx="3486919" cy="829058"/>
          </a:xfrm>
          <a:prstGeom prst="rect">
            <a:avLst/>
          </a:prstGeom>
        </p:spPr>
      </p:pic>
    </p:spTree>
    <p:extLst>
      <p:ext uri="{BB962C8B-B14F-4D97-AF65-F5344CB8AC3E}">
        <p14:creationId xmlns:p14="http://schemas.microsoft.com/office/powerpoint/2010/main" val="117823477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879873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395536" y="692696"/>
            <a:ext cx="864096" cy="369332"/>
          </a:xfrm>
        </p:spPr>
        <p:txBody>
          <a:bodyPr/>
          <a:lstStyle/>
          <a:p>
            <a:pPr>
              <a:spcAft>
                <a:spcPct val="0"/>
              </a:spcAft>
            </a:pPr>
            <a:r>
              <a:rPr lang="de-DE" sz="2400" i="1" dirty="0">
                <a:solidFill>
                  <a:srgbClr val="558ED5"/>
                </a:solidFill>
              </a:rPr>
              <a:t>„Du!“</a:t>
            </a:r>
            <a:endParaRPr lang="de-DE" sz="2400" b="1" dirty="0">
              <a:solidFill>
                <a:srgbClr val="558ED5"/>
              </a:solidFill>
            </a:endParaRPr>
          </a:p>
        </p:txBody>
      </p:sp>
      <p:sp>
        <p:nvSpPr>
          <p:cNvPr id="7" name="Titel 2"/>
          <p:cNvSpPr txBox="1">
            <a:spLocks/>
          </p:cNvSpPr>
          <p:nvPr/>
        </p:nvSpPr>
        <p:spPr>
          <a:xfrm>
            <a:off x="421795" y="1070129"/>
            <a:ext cx="3672408" cy="338554"/>
          </a:xfrm>
          <a:prstGeom prst="rect">
            <a:avLst/>
          </a:prstGeom>
        </p:spPr>
        <p:txBody>
          <a:bodyPr vert="horz" wrap="square"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Ausblick</a:t>
            </a:r>
            <a:r>
              <a:rPr lang="en-US" i="1" dirty="0">
                <a:solidFill>
                  <a:srgbClr val="92D050"/>
                </a:solidFill>
              </a:rPr>
              <a:t> </a:t>
            </a:r>
            <a:r>
              <a:rPr lang="en-US" i="1" dirty="0" err="1">
                <a:solidFill>
                  <a:srgbClr val="92D050"/>
                </a:solidFill>
              </a:rPr>
              <a:t>erste</a:t>
            </a:r>
            <a:r>
              <a:rPr lang="en-US" i="1" dirty="0">
                <a:solidFill>
                  <a:srgbClr val="92D050"/>
                </a:solidFill>
              </a:rPr>
              <a:t> </a:t>
            </a:r>
            <a:r>
              <a:rPr lang="en-US" i="1" dirty="0" err="1">
                <a:solidFill>
                  <a:srgbClr val="92D050"/>
                </a:solidFill>
              </a:rPr>
              <a:t>Schulwochen</a:t>
            </a:r>
            <a:endParaRPr lang="en-US" i="1" dirty="0">
              <a:solidFill>
                <a:srgbClr val="92D050"/>
              </a:solidFill>
            </a:endParaRPr>
          </a:p>
        </p:txBody>
      </p:sp>
      <p:graphicFrame>
        <p:nvGraphicFramePr>
          <p:cNvPr id="9" name="Inhaltsplatzhalter 8"/>
          <p:cNvGraphicFramePr>
            <a:graphicFrameLocks noGrp="1"/>
          </p:cNvGraphicFramePr>
          <p:nvPr>
            <p:ph idx="1"/>
            <p:extLst>
              <p:ext uri="{D42A27DB-BD31-4B8C-83A1-F6EECF244321}">
                <p14:modId xmlns:p14="http://schemas.microsoft.com/office/powerpoint/2010/main" val="1322838263"/>
              </p:ext>
            </p:extLst>
          </p:nvPr>
        </p:nvGraphicFramePr>
        <p:xfrm>
          <a:off x="1979712" y="1845584"/>
          <a:ext cx="7848872" cy="443278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4" name="Grafik 3"/>
          <p:cNvPicPr>
            <a:picLocks noChangeAspect="1"/>
          </p:cNvPicPr>
          <p:nvPr/>
        </p:nvPicPr>
        <p:blipFill>
          <a:blip r:embed="rId13"/>
          <a:stretch>
            <a:fillRect/>
          </a:stretch>
        </p:blipFill>
        <p:spPr>
          <a:xfrm>
            <a:off x="448235" y="1503938"/>
            <a:ext cx="3295478" cy="4661366"/>
          </a:xfrm>
          <a:prstGeom prst="rect">
            <a:avLst/>
          </a:prstGeom>
        </p:spPr>
      </p:pic>
    </p:spTree>
    <p:extLst>
      <p:ext uri="{BB962C8B-B14F-4D97-AF65-F5344CB8AC3E}">
        <p14:creationId xmlns:p14="http://schemas.microsoft.com/office/powerpoint/2010/main" val="12876880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34948" y="941271"/>
            <a:ext cx="8639999" cy="338554"/>
          </a:xfrm>
        </p:spPr>
        <p:txBody>
          <a:bodyPr/>
          <a:lstStyle/>
          <a:p>
            <a:r>
              <a:rPr lang="de-DE" dirty="0"/>
              <a:t>Unser Kollegium: 72 </a:t>
            </a:r>
            <a:r>
              <a:rPr lang="de-DE" dirty="0" smtClean="0"/>
              <a:t>Lehrende…</a:t>
            </a:r>
            <a:endParaRPr lang="de-DE" dirty="0"/>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269" y="1916832"/>
            <a:ext cx="8740282" cy="3168352"/>
          </a:xfrm>
          <a:prstGeom prst="rect">
            <a:avLst/>
          </a:prstGeom>
        </p:spPr>
      </p:pic>
      <p:sp>
        <p:nvSpPr>
          <p:cNvPr id="3" name="Rechteck 2"/>
          <p:cNvSpPr/>
          <p:nvPr/>
        </p:nvSpPr>
        <p:spPr>
          <a:xfrm>
            <a:off x="246790" y="5308319"/>
            <a:ext cx="5665333" cy="430887"/>
          </a:xfrm>
          <a:prstGeom prst="rect">
            <a:avLst/>
          </a:prstGeom>
        </p:spPr>
        <p:txBody>
          <a:bodyPr wrap="none">
            <a:spAutoFit/>
          </a:bodyPr>
          <a:lstStyle/>
          <a:p>
            <a:r>
              <a:rPr lang="de-DE" sz="2200" dirty="0" smtClean="0">
                <a:solidFill>
                  <a:srgbClr val="558ED5"/>
                </a:solidFill>
                <a:ea typeface="+mj-ea"/>
                <a:cs typeface="+mj-cs"/>
              </a:rPr>
              <a:t>…für unsere Schülerschaft: 880 Lernende!  </a:t>
            </a:r>
            <a:endParaRPr lang="de-DE" dirty="0"/>
          </a:p>
        </p:txBody>
      </p:sp>
    </p:spTree>
    <p:extLst>
      <p:ext uri="{BB962C8B-B14F-4D97-AF65-F5344CB8AC3E}">
        <p14:creationId xmlns:p14="http://schemas.microsoft.com/office/powerpoint/2010/main" val="585060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0825" y="714182"/>
            <a:ext cx="8639999" cy="307777"/>
          </a:xfrm>
        </p:spPr>
        <p:txBody>
          <a:bodyPr/>
          <a:lstStyle/>
          <a:p>
            <a:r>
              <a:rPr lang="de-DE" sz="2000" b="1" dirty="0">
                <a:solidFill>
                  <a:srgbClr val="558ED5"/>
                </a:solidFill>
              </a:rPr>
              <a:t>Gesamtschule </a:t>
            </a:r>
            <a:r>
              <a:rPr lang="de-DE" sz="2000" b="1" dirty="0" err="1">
                <a:solidFill>
                  <a:srgbClr val="558ED5"/>
                </a:solidFill>
              </a:rPr>
              <a:t>Hiesfeld</a:t>
            </a:r>
            <a:r>
              <a:rPr lang="de-DE" sz="2000" b="1" dirty="0">
                <a:solidFill>
                  <a:srgbClr val="558ED5"/>
                </a:solidFill>
              </a:rPr>
              <a:t> - Grundzüge des pädagogischen Konzepts</a:t>
            </a:r>
            <a:endParaRPr lang="de-DE" dirty="0"/>
          </a:p>
        </p:txBody>
      </p:sp>
      <p:sp>
        <p:nvSpPr>
          <p:cNvPr id="4" name="Textplatzhalter 3"/>
          <p:cNvSpPr>
            <a:spLocks noGrp="1"/>
          </p:cNvSpPr>
          <p:nvPr>
            <p:ph type="body" sz="quarter" idx="12"/>
          </p:nvPr>
        </p:nvSpPr>
        <p:spPr/>
        <p:txBody>
          <a:bodyPr/>
          <a:lstStyle/>
          <a:p>
            <a:endParaRPr lang="de-DE"/>
          </a:p>
        </p:txBody>
      </p:sp>
      <p:sp>
        <p:nvSpPr>
          <p:cNvPr id="5" name="Titel 2"/>
          <p:cNvSpPr txBox="1">
            <a:spLocks noGrp="1"/>
          </p:cNvSpPr>
          <p:nvPr>
            <p:ph idx="1"/>
          </p:nvPr>
        </p:nvSpPr>
        <p:spPr>
          <a:xfrm>
            <a:off x="250825" y="1066573"/>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pPr marL="179705" indent="-179705"/>
            <a:r>
              <a:rPr lang="en-US" i="1" dirty="0">
                <a:solidFill>
                  <a:srgbClr val="92D050"/>
                </a:solidFill>
              </a:rPr>
              <a:t>PUK – Projekt- und </a:t>
            </a:r>
            <a:r>
              <a:rPr lang="en-US" i="1" dirty="0" err="1">
                <a:solidFill>
                  <a:srgbClr val="92D050"/>
                </a:solidFill>
              </a:rPr>
              <a:t>Klassenfahrtswoche</a:t>
            </a:r>
          </a:p>
        </p:txBody>
      </p:sp>
      <p:sp>
        <p:nvSpPr>
          <p:cNvPr id="6" name="Rechteck 5"/>
          <p:cNvSpPr/>
          <p:nvPr/>
        </p:nvSpPr>
        <p:spPr>
          <a:xfrm>
            <a:off x="493831" y="1713082"/>
            <a:ext cx="6120680" cy="4401205"/>
          </a:xfrm>
          <a:prstGeom prst="rect">
            <a:avLst/>
          </a:prstGeom>
        </p:spPr>
        <p:txBody>
          <a:bodyPr wrap="square" lIns="91440" tIns="45720" rIns="91440" bIns="45720" anchor="t">
            <a:spAutoFit/>
          </a:bodyPr>
          <a:lstStyle/>
          <a:p>
            <a:r>
              <a:rPr lang="de-DE" sz="2000" b="1" dirty="0"/>
              <a:t>5  </a:t>
            </a:r>
            <a:r>
              <a:rPr lang="de-DE" sz="2000" dirty="0"/>
              <a:t>Projektwoche </a:t>
            </a:r>
            <a:r>
              <a:rPr lang="de-DE" sz="2000" dirty="0" smtClean="0"/>
              <a:t>„Gemeinsam </a:t>
            </a:r>
            <a:r>
              <a:rPr lang="de-DE" sz="2000" dirty="0"/>
              <a:t>Klasse </a:t>
            </a:r>
            <a:r>
              <a:rPr lang="de-DE" sz="2000" dirty="0" smtClean="0"/>
              <a:t>sein“ </a:t>
            </a:r>
            <a:endParaRPr lang="de-DE" sz="2000" b="1" dirty="0"/>
          </a:p>
          <a:p>
            <a:endParaRPr lang="de-DE" sz="2000" b="1" dirty="0"/>
          </a:p>
          <a:p>
            <a:r>
              <a:rPr lang="de-DE" sz="2000" b="1" dirty="0"/>
              <a:t>6</a:t>
            </a:r>
            <a:r>
              <a:rPr lang="de-DE" sz="2000" dirty="0"/>
              <a:t>	 </a:t>
            </a:r>
            <a:r>
              <a:rPr lang="de-DE" sz="2000" i="1" dirty="0"/>
              <a:t>„Klasse am Niederrhein“</a:t>
            </a:r>
            <a:endParaRPr lang="de-DE" dirty="0"/>
          </a:p>
          <a:p>
            <a:r>
              <a:rPr lang="de-DE" sz="2000" dirty="0"/>
              <a:t>	(z.B. Kleve, Kevelaer, Duisburg-Wedau…)</a:t>
            </a:r>
          </a:p>
          <a:p>
            <a:endParaRPr lang="de-DE" sz="2000" dirty="0"/>
          </a:p>
          <a:p>
            <a:r>
              <a:rPr lang="de-DE" sz="2000" b="1" dirty="0"/>
              <a:t>7</a:t>
            </a:r>
            <a:r>
              <a:rPr lang="de-DE" sz="2000" dirty="0"/>
              <a:t>     Projektwoche </a:t>
            </a:r>
            <a:r>
              <a:rPr lang="de-DE" sz="2000" dirty="0" smtClean="0"/>
              <a:t>„Prävention</a:t>
            </a:r>
            <a:r>
              <a:rPr lang="de-DE" sz="2000" dirty="0" smtClean="0"/>
              <a:t>“</a:t>
            </a:r>
            <a:r>
              <a:rPr lang="de-DE" sz="2000" dirty="0" smtClean="0"/>
              <a:t> </a:t>
            </a:r>
            <a:r>
              <a:rPr lang="de-DE" sz="2000" dirty="0"/>
              <a:t>   </a:t>
            </a:r>
          </a:p>
          <a:p>
            <a:endParaRPr lang="de-DE" sz="2000" dirty="0"/>
          </a:p>
          <a:p>
            <a:r>
              <a:rPr lang="de-DE" sz="2000" b="1" dirty="0"/>
              <a:t>8</a:t>
            </a:r>
            <a:r>
              <a:rPr lang="de-DE" sz="2000" dirty="0"/>
              <a:t>	</a:t>
            </a:r>
            <a:r>
              <a:rPr lang="de-DE" sz="2000" i="1" dirty="0"/>
              <a:t> „Meer erleben – Klasse Insel“ </a:t>
            </a:r>
          </a:p>
          <a:p>
            <a:r>
              <a:rPr lang="de-DE" sz="2000" dirty="0"/>
              <a:t>	(Borkum, ...)</a:t>
            </a:r>
            <a:endParaRPr lang="de-DE" dirty="0"/>
          </a:p>
          <a:p>
            <a:endParaRPr lang="de-DE" sz="2000" dirty="0"/>
          </a:p>
          <a:p>
            <a:r>
              <a:rPr lang="de-DE" sz="2000" b="1" dirty="0"/>
              <a:t>9</a:t>
            </a:r>
            <a:r>
              <a:rPr lang="de-DE" sz="2000" dirty="0"/>
              <a:t>      Projektwoche </a:t>
            </a:r>
            <a:r>
              <a:rPr lang="de-DE" sz="2000" dirty="0" smtClean="0"/>
              <a:t>„Berufsberatung“</a:t>
            </a:r>
            <a:endParaRPr lang="de-DE" sz="2000" dirty="0"/>
          </a:p>
          <a:p>
            <a:endParaRPr lang="de-DE" sz="2000" dirty="0"/>
          </a:p>
          <a:p>
            <a:r>
              <a:rPr lang="de-DE" sz="2000" b="1" dirty="0"/>
              <a:t>10</a:t>
            </a:r>
            <a:r>
              <a:rPr lang="de-DE" sz="2000" dirty="0"/>
              <a:t>	 </a:t>
            </a:r>
            <a:r>
              <a:rPr lang="de-DE" sz="2000" i="1" dirty="0"/>
              <a:t>„Klasse Abschluss“ </a:t>
            </a:r>
            <a:r>
              <a:rPr lang="de-DE" sz="2000" dirty="0"/>
              <a:t>	</a:t>
            </a:r>
          </a:p>
          <a:p>
            <a:r>
              <a:rPr lang="de-DE" sz="2000" dirty="0"/>
              <a:t>	(flex.)</a:t>
            </a:r>
          </a:p>
        </p:txBody>
      </p:sp>
      <p:pic>
        <p:nvPicPr>
          <p:cNvPr id="7" name="Picture 6" descr="A group of people standing in a room&#10;&#10;Description automatically generated">
            <a:extLst>
              <a:ext uri="{FF2B5EF4-FFF2-40B4-BE49-F238E27FC236}">
                <a16:creationId xmlns:a16="http://schemas.microsoft.com/office/drawing/2014/main" id="{260861D2-7289-C2AC-AE55-471A49FAA859}"/>
              </a:ext>
            </a:extLst>
          </p:cNvPr>
          <p:cNvPicPr>
            <a:picLocks noChangeAspect="1"/>
          </p:cNvPicPr>
          <p:nvPr/>
        </p:nvPicPr>
        <p:blipFill>
          <a:blip r:embed="rId3"/>
          <a:stretch>
            <a:fillRect/>
          </a:stretch>
        </p:blipFill>
        <p:spPr>
          <a:xfrm>
            <a:off x="6345134" y="1238430"/>
            <a:ext cx="1942391" cy="2421821"/>
          </a:xfrm>
          <a:prstGeom prst="rect">
            <a:avLst/>
          </a:prstGeom>
        </p:spPr>
      </p:pic>
      <p:pic>
        <p:nvPicPr>
          <p:cNvPr id="8" name="Grafik 7"/>
          <p:cNvPicPr>
            <a:picLocks noChangeAspect="1"/>
          </p:cNvPicPr>
          <p:nvPr/>
        </p:nvPicPr>
        <p:blipFill>
          <a:blip r:embed="rId4"/>
          <a:stretch>
            <a:fillRect/>
          </a:stretch>
        </p:blipFill>
        <p:spPr>
          <a:xfrm>
            <a:off x="5364088" y="3618720"/>
            <a:ext cx="2952047" cy="2218648"/>
          </a:xfrm>
          <a:prstGeom prst="rect">
            <a:avLst/>
          </a:prstGeom>
        </p:spPr>
      </p:pic>
    </p:spTree>
    <p:extLst>
      <p:ext uri="{BB962C8B-B14F-4D97-AF65-F5344CB8AC3E}">
        <p14:creationId xmlns:p14="http://schemas.microsoft.com/office/powerpoint/2010/main" val="26833304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0990B06-C0BB-579E-F941-C5B01736DD48}"/>
              </a:ext>
            </a:extLst>
          </p:cNvPr>
          <p:cNvSpPr>
            <a:spLocks noGrp="1"/>
          </p:cNvSpPr>
          <p:nvPr>
            <p:ph type="title"/>
          </p:nvPr>
        </p:nvSpPr>
        <p:spPr>
          <a:xfrm>
            <a:off x="255501" y="473775"/>
            <a:ext cx="8639999" cy="738664"/>
          </a:xfrm>
        </p:spPr>
        <p:txBody>
          <a:bodyPr/>
          <a:lstStyle/>
          <a:p>
            <a:r>
              <a:rPr lang="de-DE" sz="2400" i="1" dirty="0">
                <a:solidFill>
                  <a:srgbClr val="558ED5"/>
                </a:solidFill>
              </a:rPr>
              <a:t>„Miteinander Zukunft gestalten“</a:t>
            </a:r>
            <a:r>
              <a:rPr lang="de-DE" sz="2400" dirty="0">
                <a:solidFill>
                  <a:srgbClr val="558ED5"/>
                </a:solidFill>
              </a:rPr>
              <a:t/>
            </a:r>
            <a:br>
              <a:rPr lang="de-DE" sz="2400" dirty="0">
                <a:solidFill>
                  <a:srgbClr val="558ED5"/>
                </a:solidFill>
              </a:rPr>
            </a:br>
            <a:endParaRPr lang="de-DE" sz="2400" dirty="0"/>
          </a:p>
        </p:txBody>
      </p:sp>
      <p:pic>
        <p:nvPicPr>
          <p:cNvPr id="6" name="Grafik 5"/>
          <p:cNvPicPr>
            <a:picLocks noChangeAspect="1"/>
          </p:cNvPicPr>
          <p:nvPr/>
        </p:nvPicPr>
        <p:blipFill>
          <a:blip r:embed="rId2"/>
          <a:stretch>
            <a:fillRect/>
          </a:stretch>
        </p:blipFill>
        <p:spPr>
          <a:xfrm>
            <a:off x="3787080" y="1208381"/>
            <a:ext cx="4640799" cy="1922075"/>
          </a:xfrm>
          <a:prstGeom prst="rect">
            <a:avLst/>
          </a:prstGeom>
        </p:spPr>
      </p:pic>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7704" y="3476593"/>
            <a:ext cx="1722750" cy="2337852"/>
          </a:xfrm>
          <a:prstGeom prst="rect">
            <a:avLst/>
          </a:prstGeom>
        </p:spPr>
      </p:pic>
      <p:pic>
        <p:nvPicPr>
          <p:cNvPr id="9" name="Grafik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9720" y="3382190"/>
            <a:ext cx="1487984" cy="2500937"/>
          </a:xfrm>
          <a:prstGeom prst="rect">
            <a:avLst/>
          </a:prstGeom>
        </p:spPr>
      </p:pic>
      <p:sp>
        <p:nvSpPr>
          <p:cNvPr id="10" name="Rechteck 9"/>
          <p:cNvSpPr/>
          <p:nvPr/>
        </p:nvSpPr>
        <p:spPr>
          <a:xfrm>
            <a:off x="611560" y="872344"/>
            <a:ext cx="4572000" cy="369332"/>
          </a:xfrm>
          <a:prstGeom prst="rect">
            <a:avLst/>
          </a:prstGeom>
        </p:spPr>
        <p:txBody>
          <a:bodyPr>
            <a:spAutoFit/>
          </a:bodyPr>
          <a:lstStyle/>
          <a:p>
            <a:pPr fontAlgn="base"/>
            <a:r>
              <a:rPr lang="en-US" dirty="0">
                <a:solidFill>
                  <a:srgbClr val="7B8B9C"/>
                </a:solidFill>
              </a:rPr>
              <a:t>​</a:t>
            </a:r>
            <a:endParaRPr lang="en-US" dirty="0">
              <a:solidFill>
                <a:srgbClr val="4B5564"/>
              </a:solidFill>
              <a:latin typeface="Arial" panose="020B0604020202020204" pitchFamily="34" charset="0"/>
            </a:endParaRPr>
          </a:p>
        </p:txBody>
      </p:sp>
      <p:pic>
        <p:nvPicPr>
          <p:cNvPr id="2" name="Picture 1" descr="A group of people posing for a photo in front of a large building&#10;&#10;Description automatically generated">
            <a:extLst>
              <a:ext uri="{FF2B5EF4-FFF2-40B4-BE49-F238E27FC236}">
                <a16:creationId xmlns:a16="http://schemas.microsoft.com/office/drawing/2014/main" id="{0B77055B-989D-FD4D-33B1-FD0D9A409504}"/>
              </a:ext>
            </a:extLst>
          </p:cNvPr>
          <p:cNvPicPr>
            <a:picLocks noChangeAspect="1"/>
          </p:cNvPicPr>
          <p:nvPr/>
        </p:nvPicPr>
        <p:blipFill>
          <a:blip r:embed="rId5"/>
          <a:stretch>
            <a:fillRect/>
          </a:stretch>
        </p:blipFill>
        <p:spPr>
          <a:xfrm>
            <a:off x="419720" y="1437410"/>
            <a:ext cx="3367360" cy="2279622"/>
          </a:xfrm>
          <a:prstGeom prst="rect">
            <a:avLst/>
          </a:prstGeom>
        </p:spPr>
      </p:pic>
      <p:pic>
        <p:nvPicPr>
          <p:cNvPr id="13" name="Grafik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0454" y="3116842"/>
            <a:ext cx="4576676" cy="2574381"/>
          </a:xfrm>
          <a:prstGeom prst="rect">
            <a:avLst/>
          </a:prstGeom>
        </p:spPr>
      </p:pic>
      <p:sp>
        <p:nvSpPr>
          <p:cNvPr id="14" name="AutoShape 72"/>
          <p:cNvSpPr>
            <a:spLocks noChangeArrowheads="1"/>
          </p:cNvSpPr>
          <p:nvPr/>
        </p:nvSpPr>
        <p:spPr bwMode="auto">
          <a:xfrm>
            <a:off x="1907704" y="5694203"/>
            <a:ext cx="7233043" cy="798430"/>
          </a:xfrm>
          <a:prstGeom prst="rect">
            <a:avLst/>
          </a:prstGeom>
          <a:solidFill>
            <a:srgbClr val="558ED5"/>
          </a:solidFill>
          <a:ln w="12700" algn="ctr">
            <a:noFill/>
            <a:round/>
            <a:headEnd/>
            <a:tailEnd/>
          </a:ln>
          <a:effectLst/>
        </p:spPr>
        <p:txBody>
          <a:bodyPr lIns="252000" anchor="ctr"/>
          <a:lstStyle/>
          <a:p>
            <a:pPr marL="1588" eaLnBrk="0" hangingPunct="0">
              <a:lnSpc>
                <a:spcPct val="90000"/>
              </a:lnSpc>
              <a:defRPr/>
            </a:pPr>
            <a:r>
              <a:rPr lang="de-DE" sz="1600" kern="0" dirty="0">
                <a:solidFill>
                  <a:srgbClr val="FFFFFF"/>
                </a:solidFill>
              </a:rPr>
              <a:t>Vielfältiges AG-Angebot: z.B. </a:t>
            </a:r>
            <a:r>
              <a:rPr lang="de-DE" sz="1600" kern="0" dirty="0" err="1">
                <a:solidFill>
                  <a:srgbClr val="FFFFFF"/>
                </a:solidFill>
              </a:rPr>
              <a:t>Fab</a:t>
            </a:r>
            <a:r>
              <a:rPr lang="de-DE" sz="1600" kern="0" dirty="0">
                <a:solidFill>
                  <a:srgbClr val="FFFFFF"/>
                </a:solidFill>
              </a:rPr>
              <a:t> Lab, Klettern, Band, Graffiti; Projekttage im P-Dorf </a:t>
            </a:r>
            <a:r>
              <a:rPr lang="de-DE" sz="1600" kern="0" dirty="0" err="1">
                <a:solidFill>
                  <a:srgbClr val="FFFFFF"/>
                </a:solidFill>
              </a:rPr>
              <a:t>uvm</a:t>
            </a:r>
            <a:r>
              <a:rPr lang="de-DE" sz="1600" kern="0" dirty="0">
                <a:solidFill>
                  <a:srgbClr val="FFFFFF"/>
                </a:solidFill>
              </a:rPr>
              <a:t>., Besuch des APX, Theaterbesuche, Lesung „Koboldchroniken“ mit dem </a:t>
            </a:r>
            <a:r>
              <a:rPr lang="de-DE" sz="1600" kern="0" dirty="0" err="1">
                <a:solidFill>
                  <a:srgbClr val="FFFFFF"/>
                </a:solidFill>
              </a:rPr>
              <a:t>Dinslakener</a:t>
            </a:r>
            <a:r>
              <a:rPr lang="de-DE" sz="1600" kern="0" dirty="0">
                <a:solidFill>
                  <a:srgbClr val="FFFFFF"/>
                </a:solidFill>
              </a:rPr>
              <a:t>  Autoren Daniel Bleckmann</a:t>
            </a:r>
          </a:p>
        </p:txBody>
      </p:sp>
    </p:spTree>
    <p:extLst>
      <p:ext uri="{BB962C8B-B14F-4D97-AF65-F5344CB8AC3E}">
        <p14:creationId xmlns:p14="http://schemas.microsoft.com/office/powerpoint/2010/main" val="52725898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050CA244-AA78-49F4-8283-C71C5C61F51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43015" y="4693697"/>
            <a:ext cx="2164080" cy="2164080"/>
          </a:xfrm>
          <a:prstGeom prst="rect">
            <a:avLst/>
          </a:prstGeom>
        </p:spPr>
      </p:pic>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333380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6" name="think-cell Folie" r:id="rId7" imgW="270" imgH="270" progId="TCLayout.ActiveDocument.1">
                  <p:embed/>
                </p:oleObj>
              </mc:Choice>
              <mc:Fallback>
                <p:oleObj name="think-cell Folie" r:id="rId7" imgW="270" imgH="270" progId="TCLayout.ActiveDocument.1">
                  <p:embed/>
                  <p:pic>
                    <p:nvPicPr>
                      <p:cNvPr id="2" name="Objek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sp>
        <p:nvSpPr>
          <p:cNvPr id="7" name="Titel 2"/>
          <p:cNvSpPr txBox="1">
            <a:spLocks/>
          </p:cNvSpPr>
          <p:nvPr/>
        </p:nvSpPr>
        <p:spPr>
          <a:xfrm>
            <a:off x="673202" y="1472962"/>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Unsere</a:t>
            </a:r>
            <a:r>
              <a:rPr lang="en-US" i="1" dirty="0">
                <a:solidFill>
                  <a:srgbClr val="92D050"/>
                </a:solidFill>
              </a:rPr>
              <a:t> </a:t>
            </a:r>
            <a:r>
              <a:rPr lang="en-US" i="1" dirty="0" err="1">
                <a:solidFill>
                  <a:srgbClr val="92D050"/>
                </a:solidFill>
              </a:rPr>
              <a:t>Kooperationspartner</a:t>
            </a:r>
            <a:r>
              <a:rPr lang="en-US" i="1" dirty="0">
                <a:solidFill>
                  <a:srgbClr val="92D050"/>
                </a:solidFill>
              </a:rPr>
              <a:t> </a:t>
            </a:r>
          </a:p>
        </p:txBody>
      </p:sp>
      <p:pic>
        <p:nvPicPr>
          <p:cNvPr id="47110" name="Picture 6" descr="C:\Users\AMASCH~1\AppData\Local\Temp\RR_Logo_neu.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3578" y="1991606"/>
            <a:ext cx="2839387" cy="1064770"/>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8" descr="upload.wikimedia.org/wikipedia/de/f/fd/TV_Jahn_..."/>
          <p:cNvSpPr>
            <a:spLocks noChangeAspect="1" noChangeArrowheads="1"/>
          </p:cNvSpPr>
          <p:nvPr/>
        </p:nvSpPr>
        <p:spPr bwMode="auto">
          <a:xfrm>
            <a:off x="155575" y="-914400"/>
            <a:ext cx="1362075" cy="19145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47114" name="Picture 10" descr="upload.wikimedia.org/wikipedia/de/f/fd/TV_Jahn_..."/>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23582" y="2288638"/>
            <a:ext cx="1402945" cy="1965448"/>
          </a:xfrm>
          <a:prstGeom prst="rect">
            <a:avLst/>
          </a:prstGeom>
          <a:noFill/>
          <a:extLst>
            <a:ext uri="{909E8E84-426E-40DD-AFC4-6F175D3DCCD1}">
              <a14:hiddenFill xmlns:a14="http://schemas.microsoft.com/office/drawing/2010/main">
                <a:solidFill>
                  <a:srgbClr val="FFFFFF"/>
                </a:solidFill>
              </a14:hiddenFill>
            </a:ext>
          </a:extLst>
        </p:spPr>
      </p:pic>
      <p:sp>
        <p:nvSpPr>
          <p:cNvPr id="8" name="AutoShape 13" descr="https://p-dorf.de/wp-content/uploads/2020/03/Logo_P-Dorf_1c.svg"/>
          <p:cNvSpPr>
            <a:spLocks noChangeAspect="1" noChangeArrowheads="1"/>
          </p:cNvSpPr>
          <p:nvPr/>
        </p:nvSpPr>
        <p:spPr bwMode="auto">
          <a:xfrm>
            <a:off x="155575" y="-685800"/>
            <a:ext cx="1428750" cy="14287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 name="AutoShape 15" descr="Jugendzentrum P-Dorf"/>
          <p:cNvSpPr>
            <a:spLocks noChangeAspect="1" noChangeArrowheads="1"/>
          </p:cNvSpPr>
          <p:nvPr/>
        </p:nvSpPr>
        <p:spPr bwMode="auto">
          <a:xfrm>
            <a:off x="155575" y="-723900"/>
            <a:ext cx="3019425" cy="1514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 name="AutoShape 17" descr="Jugendzentrum P-Dorf"/>
          <p:cNvSpPr>
            <a:spLocks noChangeAspect="1" noChangeArrowheads="1"/>
          </p:cNvSpPr>
          <p:nvPr/>
        </p:nvSpPr>
        <p:spPr bwMode="auto">
          <a:xfrm>
            <a:off x="307975" y="-571500"/>
            <a:ext cx="3019425" cy="1514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 name="AutoShape 19" descr="Jugendzentrum P-Dorf"/>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47127" name="Picture 23" descr="https://attachments.office.net/owa/amadeus.schubert%40ge-hiesfeld.de/service.svc/s/GetAttachmentThumbnail?id=AAMkADIxYzA3MTEyLWViZGMtNGY5Yy1iOTRkLTFlMTNkNmYyZTc1NwBGAAAAAACrhSnemG3SSq%2BtSa2E94HhBwDo7BWRm6PpQpp6Amwgn7itAAAAAAEMAADo7BWRm6PpQpp6Amwgn7itAACDtMwxAAABEgAQADX%2F0UQHfINEofmg0bCC%2B0c%3D&amp;thumbnailType=2&amp;token=eyJhbGciOiJSUzI1NiIsImtpZCI6IjU2MzU4ODUyMzRCOTI1MkRERTAwNTc2NkQ5RDlGMjc2NTY1RjYzRTIiLCJ0eXAiOiJKV1QiLCJ4NXQiOiJWaldJVWpTNUpTM2VBRmRtMmRueWRsWmZZLUkifQ.eyJvcmlnaW4iOiJodHRwczovL291dGxvb2sub2ZmaWNlLmNvbSIsInVjIjoiYTBkZjk1OTIyZTA5NDU4MzlmNmY1YWMyZmQ3ZDE0Y2MiLCJzaWduaW5fc3RhdGUiOiJbXCJrbXNpXCJdIiwidmVyIjoiRXhjaGFuZ2UuQ2FsbGJhY2suVjEiLCJhcHBjdHhzZW5kZXIiOiJPd2FEb3dubG9hZEBlNjA2YzhjOS0xY2M2LTRmZDQtYTRiMS02YzhiM2Q1NTQ5YzAiLCJpc3NyaW5nIjoiU0lQIiwiYXBwY3R4Ijoie1wibXNleGNocHJvdFwiOlwib3dhXCIsXCJwdWlkXCI6XCIxMTUzODAxMTE3MDQyMzQ2NTAxXCIsXCJzY29wZVwiOlwiT3dhRG93bmxvYWRcIixcIm9pZFwiOlwiYTNkNTQwZTQtZDUyMC00ZWQ0LTk5OTgtZTc0NGExOGY2Y2JlXCIsXCJwcmltYXJ5c2lkXCI6XCJTLTEtNS0yMS0yNTg3NDYzNzYxLTM4MzgyMjY2OTktMzU0ODEzMTI3MC03MTYyNTVcIn0iLCJuYmYiOjE2MDYxNTcwMjEsImV4cCI6MTYwNjE1NzYyMSwiaXNzIjoiMDAwMDAwMDItMDAwMC0wZmYxLWNlMDAtMDAwMDAwMDAwMDAwQGU2MDZjOGM5LTFjYzYtNGZkNC1hNGIxLTZjOGIzZDU1NDljMCIsImF1ZCI6IjAwMDAwMDAyLTAwMDAtMGZmMS1jZTAwLTAwMDAwMDAwMDAwMC9hdHRhY2htZW50cy5vZmZpY2UubmV0QGU2MDZjOGM5LTFjYzYtNGZkNC1hNGIxLTZjOGIzZDU1NDljMCIsImhhcHAiOiJvd2EifQ.D2EsE_qDbt1zIVnksG8_DI9yWLRZr8I4m_V5ij5WtY95OEks3HSMJsT67QCGL854DEMEEux-CESP_CnY-qNfr89vi8YUqCXxGDJ7xQNqKODEc3TBH6kqsMrEwMyKYx6Eoxx6RdyRgFPcDJ2uG5B-moPOAQ2jBmGc8sPk3gDaGMzJDYzd1CzgXGMZnjI4diAqWIgYXxZgx22OdLOhHPnvGuuqa3tLB53hjH3oKItWsGOGqjfonzpzKuGUJ7r3BZfFNh20LzpYgW_PIXfY9z-TgW822ErpqmNijkQN5luILFu0HUav8XQarIl2VW71rjrYrMH9BE54Zoy0rWB5NO25ow&amp;X-OWA-CANARY=5453XGtYI02_tgjECNZTNkATyBrgj9gYUfQDwGCQXpNzo5X3rIUdQo03jCDltQt_kuy3RBlYH7M.&amp;owa=outlook.office.com&amp;scriptVer=20201116002.03&amp;animation=tru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77723" y="1823400"/>
            <a:ext cx="2396728" cy="1533117"/>
          </a:xfrm>
          <a:prstGeom prst="rect">
            <a:avLst/>
          </a:prstGeom>
          <a:noFill/>
          <a:extLst>
            <a:ext uri="{909E8E84-426E-40DD-AFC4-6F175D3DCCD1}">
              <a14:hiddenFill xmlns:a14="http://schemas.microsoft.com/office/drawing/2010/main">
                <a:solidFill>
                  <a:srgbClr val="FFFFFF"/>
                </a:solidFill>
              </a14:hiddenFill>
            </a:ext>
          </a:extLst>
        </p:spPr>
      </p:pic>
      <p:pic>
        <p:nvPicPr>
          <p:cNvPr id="47137" name="Picture 33" descr="C:\Users\amaschu1986\Desktop\Logo_KISCHUBU.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582" y="4137750"/>
            <a:ext cx="2884488" cy="1084262"/>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p:cNvPicPr>
            <a:picLocks noChangeAspect="1"/>
          </p:cNvPicPr>
          <p:nvPr/>
        </p:nvPicPr>
        <p:blipFill rotWithShape="1">
          <a:blip r:embed="rId13"/>
          <a:srcRect r="4625"/>
          <a:stretch/>
        </p:blipFill>
        <p:spPr>
          <a:xfrm>
            <a:off x="4912638" y="5342706"/>
            <a:ext cx="1931764" cy="878965"/>
          </a:xfrm>
          <a:prstGeom prst="rect">
            <a:avLst/>
          </a:prstGeom>
        </p:spPr>
      </p:pic>
      <p:pic>
        <p:nvPicPr>
          <p:cNvPr id="9" name="Grafik 8"/>
          <p:cNvPicPr>
            <a:picLocks noChangeAspect="1"/>
          </p:cNvPicPr>
          <p:nvPr/>
        </p:nvPicPr>
        <p:blipFill>
          <a:blip r:embed="rId14"/>
          <a:stretch>
            <a:fillRect/>
          </a:stretch>
        </p:blipFill>
        <p:spPr>
          <a:xfrm>
            <a:off x="2915266" y="3112588"/>
            <a:ext cx="3280595" cy="952151"/>
          </a:xfrm>
          <a:prstGeom prst="rect">
            <a:avLst/>
          </a:prstGeom>
        </p:spPr>
      </p:pic>
      <p:sp>
        <p:nvSpPr>
          <p:cNvPr id="17" name="Titel 3">
            <a:extLst>
              <a:ext uri="{FF2B5EF4-FFF2-40B4-BE49-F238E27FC236}">
                <a16:creationId xmlns:a16="http://schemas.microsoft.com/office/drawing/2014/main" id="{80990B06-C0BB-579E-F941-C5B01736DD48}"/>
              </a:ext>
            </a:extLst>
          </p:cNvPr>
          <p:cNvSpPr txBox="1">
            <a:spLocks/>
          </p:cNvSpPr>
          <p:nvPr/>
        </p:nvSpPr>
        <p:spPr>
          <a:xfrm>
            <a:off x="673202" y="923432"/>
            <a:ext cx="8639999" cy="707886"/>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de-DE" sz="2400" i="1" dirty="0">
                <a:solidFill>
                  <a:srgbClr val="558ED5"/>
                </a:solidFill>
              </a:rPr>
              <a:t>„Miteinander Zukunft gestalten“</a:t>
            </a:r>
            <a:r>
              <a:rPr lang="de-DE" sz="2000" dirty="0">
                <a:solidFill>
                  <a:srgbClr val="558ED5"/>
                </a:solidFill>
              </a:rPr>
              <a:t/>
            </a:r>
            <a:br>
              <a:rPr lang="de-DE" sz="2000" dirty="0">
                <a:solidFill>
                  <a:srgbClr val="558ED5"/>
                </a:solidFill>
              </a:rPr>
            </a:br>
            <a:endParaRPr lang="de-DE" dirty="0"/>
          </a:p>
        </p:txBody>
      </p:sp>
      <p:pic>
        <p:nvPicPr>
          <p:cNvPr id="21" name="Grafik 20"/>
          <p:cNvPicPr>
            <a:picLocks noChangeAspect="1"/>
          </p:cNvPicPr>
          <p:nvPr/>
        </p:nvPicPr>
        <p:blipFill>
          <a:blip r:embed="rId15"/>
          <a:stretch>
            <a:fillRect/>
          </a:stretch>
        </p:blipFill>
        <p:spPr>
          <a:xfrm>
            <a:off x="310917" y="5366006"/>
            <a:ext cx="2810267" cy="838317"/>
          </a:xfrm>
          <a:prstGeom prst="rect">
            <a:avLst/>
          </a:prstGeom>
        </p:spPr>
      </p:pic>
      <p:pic>
        <p:nvPicPr>
          <p:cNvPr id="14" name="Grafik 13"/>
          <p:cNvPicPr>
            <a:picLocks noChangeAspect="1"/>
          </p:cNvPicPr>
          <p:nvPr/>
        </p:nvPicPr>
        <p:blipFill>
          <a:blip r:embed="rId16"/>
          <a:stretch>
            <a:fillRect/>
          </a:stretch>
        </p:blipFill>
        <p:spPr>
          <a:xfrm>
            <a:off x="3298503" y="5065759"/>
            <a:ext cx="1381837" cy="1430608"/>
          </a:xfrm>
          <a:prstGeom prst="rect">
            <a:avLst/>
          </a:prstGeom>
        </p:spPr>
      </p:pic>
      <p:pic>
        <p:nvPicPr>
          <p:cNvPr id="3" name="Grafik 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476972" y="978359"/>
            <a:ext cx="2771775" cy="904875"/>
          </a:xfrm>
          <a:prstGeom prst="rect">
            <a:avLst/>
          </a:prstGeom>
        </p:spPr>
      </p:pic>
      <p:pic>
        <p:nvPicPr>
          <p:cNvPr id="15" name="Grafik 1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07975" y="3207331"/>
            <a:ext cx="2134274" cy="1045506"/>
          </a:xfrm>
          <a:prstGeom prst="rect">
            <a:avLst/>
          </a:prstGeom>
        </p:spPr>
      </p:pic>
      <p:pic>
        <p:nvPicPr>
          <p:cNvPr id="16" name="Grafik 1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316549" y="4064739"/>
            <a:ext cx="1625602" cy="913502"/>
          </a:xfrm>
          <a:prstGeom prst="rect">
            <a:avLst/>
          </a:prstGeom>
        </p:spPr>
      </p:pic>
      <p:pic>
        <p:nvPicPr>
          <p:cNvPr id="18" name="Grafik 1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476972" y="4231055"/>
            <a:ext cx="2591775" cy="859735"/>
          </a:xfrm>
          <a:prstGeom prst="rect">
            <a:avLst/>
          </a:prstGeom>
        </p:spPr>
      </p:pic>
    </p:spTree>
    <p:extLst>
      <p:ext uri="{BB962C8B-B14F-4D97-AF65-F5344CB8AC3E}">
        <p14:creationId xmlns:p14="http://schemas.microsoft.com/office/powerpoint/2010/main" val="11219528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0825" y="941239"/>
            <a:ext cx="8639999" cy="369332"/>
          </a:xfrm>
        </p:spPr>
        <p:txBody>
          <a:bodyPr/>
          <a:lstStyle/>
          <a:p>
            <a:r>
              <a:rPr lang="en-US" sz="2400" i="1" dirty="0">
                <a:solidFill>
                  <a:srgbClr val="558ED5"/>
                </a:solidFill>
              </a:rPr>
              <a:t>Ganztag und </a:t>
            </a:r>
            <a:r>
              <a:rPr lang="en-US" sz="2400" i="1" dirty="0" err="1">
                <a:solidFill>
                  <a:srgbClr val="558ED5"/>
                </a:solidFill>
              </a:rPr>
              <a:t>Lern</a:t>
            </a:r>
            <a:r>
              <a:rPr lang="en-US" sz="2400" i="1" dirty="0">
                <a:solidFill>
                  <a:srgbClr val="558ED5"/>
                </a:solidFill>
              </a:rPr>
              <a:t>- und </a:t>
            </a:r>
            <a:r>
              <a:rPr lang="en-US" sz="2400" i="1" dirty="0" err="1">
                <a:solidFill>
                  <a:srgbClr val="558ED5"/>
                </a:solidFill>
              </a:rPr>
              <a:t>Freizeitzentrum</a:t>
            </a:r>
            <a:endParaRPr lang="en-US" sz="2400" i="1" dirty="0">
              <a:solidFill>
                <a:srgbClr val="558ED5"/>
              </a:solidFill>
            </a:endParaRPr>
          </a:p>
        </p:txBody>
      </p:sp>
      <p:sp>
        <p:nvSpPr>
          <p:cNvPr id="3" name="Inhaltsplatzhalter 2"/>
          <p:cNvSpPr>
            <a:spLocks noGrp="1"/>
          </p:cNvSpPr>
          <p:nvPr>
            <p:ph idx="1"/>
          </p:nvPr>
        </p:nvSpPr>
        <p:spPr>
          <a:xfrm>
            <a:off x="211496" y="1916832"/>
            <a:ext cx="9505751" cy="4536467"/>
          </a:xfrm>
        </p:spPr>
        <p:txBody>
          <a:bodyPr/>
          <a:lstStyle/>
          <a:p>
            <a:pPr marL="285750" indent="-285750"/>
            <a:r>
              <a:rPr lang="de-DE" sz="2000" dirty="0"/>
              <a:t>Angemeldete Betreuung bis 16 Uhr möglich, flexibel und kostenfrei </a:t>
            </a:r>
          </a:p>
          <a:p>
            <a:pPr marL="285750" indent="-285750"/>
            <a:r>
              <a:rPr lang="de-DE" sz="2000" dirty="0"/>
              <a:t>Vernetzung/ </a:t>
            </a:r>
            <a:r>
              <a:rPr lang="de-DE" sz="2000" dirty="0" smtClean="0"/>
              <a:t>Miteinander </a:t>
            </a:r>
            <a:r>
              <a:rPr lang="de-DE" sz="2000" dirty="0"/>
              <a:t>(Gymnasium, Gesamtschule)</a:t>
            </a:r>
          </a:p>
          <a:p>
            <a:pPr marL="285750" indent="-285750"/>
            <a:r>
              <a:rPr lang="de-DE" sz="2000" dirty="0"/>
              <a:t>Gemeinsam lernen, spielen, malen, reden, lachen und entspannen</a:t>
            </a:r>
          </a:p>
          <a:p>
            <a:pPr marL="285750" indent="-285750"/>
            <a:r>
              <a:rPr lang="de-DE" sz="2000" dirty="0"/>
              <a:t>Eigene AGs innerhalb des Ganztags</a:t>
            </a:r>
          </a:p>
          <a:p>
            <a:pPr marL="285750" indent="-285750"/>
            <a:r>
              <a:rPr lang="de-DE" sz="2000" dirty="0"/>
              <a:t>Träger der Schulverpflegung ist „</a:t>
            </a:r>
            <a:r>
              <a:rPr lang="de-DE" sz="2000" dirty="0" err="1"/>
              <a:t>Schollin</a:t>
            </a:r>
            <a:r>
              <a:rPr lang="de-DE" sz="2000" dirty="0"/>
              <a:t>“: Kiosk und (nach Anmeldung) Mittagessen</a:t>
            </a:r>
          </a:p>
          <a:p>
            <a:pPr marL="0" indent="0">
              <a:buNone/>
            </a:pPr>
            <a:endParaRPr lang="de-DE" sz="2000" dirty="0"/>
          </a:p>
          <a:p>
            <a:endParaRPr lang="de-DE" dirty="0"/>
          </a:p>
        </p:txBody>
      </p:sp>
      <p:pic>
        <p:nvPicPr>
          <p:cNvPr id="6" name="Picture 33" descr="C:\Users\amaschu1986\Desktop\Logo_KISCHUBU.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8144" y="861416"/>
            <a:ext cx="2884488" cy="1084262"/>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p:cNvPicPr>
            <a:picLocks noChangeAspect="1"/>
          </p:cNvPicPr>
          <p:nvPr/>
        </p:nvPicPr>
        <p:blipFill>
          <a:blip r:embed="rId3"/>
          <a:stretch>
            <a:fillRect/>
          </a:stretch>
        </p:blipFill>
        <p:spPr>
          <a:xfrm>
            <a:off x="3171794" y="4185064"/>
            <a:ext cx="3185761" cy="2124255"/>
          </a:xfrm>
          <a:prstGeom prst="rect">
            <a:avLst/>
          </a:prstGeom>
        </p:spPr>
      </p:pic>
    </p:spTree>
    <p:extLst>
      <p:ext uri="{BB962C8B-B14F-4D97-AF65-F5344CB8AC3E}">
        <p14:creationId xmlns:p14="http://schemas.microsoft.com/office/powerpoint/2010/main" val="24816531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426368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1"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323528" y="776486"/>
            <a:ext cx="8639999" cy="369332"/>
          </a:xfrm>
        </p:spPr>
        <p:txBody>
          <a:bodyPr/>
          <a:lstStyle/>
          <a:p>
            <a:pPr>
              <a:spcAft>
                <a:spcPct val="0"/>
              </a:spcAft>
            </a:pPr>
            <a:r>
              <a:rPr lang="de-DE" sz="2400" b="1" dirty="0">
                <a:solidFill>
                  <a:srgbClr val="558ED5"/>
                </a:solidFill>
              </a:rPr>
              <a:t>Termine</a:t>
            </a:r>
          </a:p>
        </p:txBody>
      </p:sp>
      <p:sp>
        <p:nvSpPr>
          <p:cNvPr id="4" name="Inhaltsplatzhalter 3"/>
          <p:cNvSpPr>
            <a:spLocks noGrp="1"/>
          </p:cNvSpPr>
          <p:nvPr>
            <p:ph idx="1"/>
          </p:nvPr>
        </p:nvSpPr>
        <p:spPr>
          <a:xfrm>
            <a:off x="804929" y="1422341"/>
            <a:ext cx="5904656" cy="3799066"/>
          </a:xfrm>
        </p:spPr>
        <p:txBody>
          <a:bodyPr vert="horz" lIns="0" tIns="0" rIns="0" bIns="0" rtlCol="0" anchor="t">
            <a:noAutofit/>
          </a:bodyPr>
          <a:lstStyle/>
          <a:p>
            <a:pPr marL="0" indent="0">
              <a:buNone/>
            </a:pPr>
            <a:r>
              <a:rPr lang="de-DE" sz="2000" u="sng" dirty="0">
                <a:solidFill>
                  <a:schemeClr val="tx1"/>
                </a:solidFill>
              </a:rPr>
              <a:t>Tag der offenen Tür:</a:t>
            </a:r>
          </a:p>
          <a:p>
            <a:pPr marL="0" indent="0">
              <a:buNone/>
            </a:pPr>
            <a:r>
              <a:rPr lang="de-DE" sz="2000" dirty="0">
                <a:solidFill>
                  <a:schemeClr val="tx1"/>
                </a:solidFill>
              </a:rPr>
              <a:t>Samstag: 	06.12.2025, 10.00 – 13.00 Uhr</a:t>
            </a:r>
          </a:p>
          <a:p>
            <a:pPr marL="0" indent="0">
              <a:buNone/>
            </a:pPr>
            <a:endParaRPr lang="de-DE" sz="2000" u="sng" dirty="0">
              <a:solidFill>
                <a:schemeClr val="tx1"/>
              </a:solidFill>
            </a:endParaRPr>
          </a:p>
          <a:p>
            <a:pPr marL="0" indent="0">
              <a:buNone/>
            </a:pPr>
            <a:r>
              <a:rPr lang="de-DE" sz="2000" u="sng" dirty="0" smtClean="0">
                <a:solidFill>
                  <a:schemeClr val="tx1"/>
                </a:solidFill>
              </a:rPr>
              <a:t>Anmeldung (Termine ab 05.12. online buchen)</a:t>
            </a:r>
            <a:endParaRPr lang="de-DE" sz="2000" u="sng" dirty="0">
              <a:solidFill>
                <a:schemeClr val="tx1"/>
              </a:solidFill>
            </a:endParaRPr>
          </a:p>
          <a:p>
            <a:pPr marL="0" indent="0">
              <a:buNone/>
            </a:pPr>
            <a:r>
              <a:rPr lang="de-DE" sz="2000" dirty="0">
                <a:solidFill>
                  <a:schemeClr val="tx1"/>
                </a:solidFill>
              </a:rPr>
              <a:t>Samstag: 	21.02.2026, 09.00 – 13.00 Uhr</a:t>
            </a:r>
          </a:p>
          <a:p>
            <a:pPr marL="0" indent="0">
              <a:buNone/>
            </a:pPr>
            <a:r>
              <a:rPr lang="de-DE" sz="2000" dirty="0">
                <a:solidFill>
                  <a:schemeClr val="tx1"/>
                </a:solidFill>
              </a:rPr>
              <a:t>Montag:	</a:t>
            </a:r>
            <a:r>
              <a:rPr lang="de-DE" sz="2000" dirty="0" smtClean="0">
                <a:solidFill>
                  <a:schemeClr val="tx1"/>
                </a:solidFill>
              </a:rPr>
              <a:t>23.02.2026</a:t>
            </a:r>
            <a:r>
              <a:rPr lang="de-DE" sz="2000" dirty="0">
                <a:solidFill>
                  <a:schemeClr val="tx1"/>
                </a:solidFill>
              </a:rPr>
              <a:t>, 15.00 – 18.00 Uhr</a:t>
            </a:r>
          </a:p>
          <a:p>
            <a:pPr marL="0" indent="0">
              <a:buNone/>
            </a:pPr>
            <a:r>
              <a:rPr lang="de-DE" sz="2000" dirty="0">
                <a:solidFill>
                  <a:schemeClr val="tx1"/>
                </a:solidFill>
              </a:rPr>
              <a:t>Dienstag: 	24.02.2026, 12.00 – 16.00 Uhr</a:t>
            </a:r>
          </a:p>
          <a:p>
            <a:pPr marL="0" indent="0">
              <a:buNone/>
            </a:pPr>
            <a:r>
              <a:rPr lang="de-DE" sz="2000" dirty="0">
                <a:solidFill>
                  <a:schemeClr val="tx1"/>
                </a:solidFill>
              </a:rPr>
              <a:t>Mittwoch: 	25.02.2026, 12.00 – 16.00 Uhr</a:t>
            </a:r>
          </a:p>
          <a:p>
            <a:pPr marL="179705" indent="-179705"/>
            <a:endParaRPr lang="de-DE" dirty="0">
              <a:solidFill>
                <a:srgbClr val="FF0000"/>
              </a:solidFill>
            </a:endParaRPr>
          </a:p>
        </p:txBody>
      </p:sp>
      <p:sp>
        <p:nvSpPr>
          <p:cNvPr id="8" name="AutoShape 72"/>
          <p:cNvSpPr>
            <a:spLocks noChangeArrowheads="1"/>
          </p:cNvSpPr>
          <p:nvPr/>
        </p:nvSpPr>
        <p:spPr bwMode="auto">
          <a:xfrm>
            <a:off x="1" y="5442436"/>
            <a:ext cx="8676455" cy="866884"/>
          </a:xfrm>
          <a:prstGeom prst="rect">
            <a:avLst/>
          </a:prstGeom>
          <a:solidFill>
            <a:srgbClr val="558ED5"/>
          </a:solidFill>
          <a:ln w="12700" algn="ctr">
            <a:noFill/>
            <a:round/>
            <a:headEnd/>
            <a:tailEnd/>
          </a:ln>
          <a:effectLst/>
        </p:spPr>
        <p:txBody>
          <a:bodyPr lIns="252000" anchor="ctr"/>
          <a:lstStyle/>
          <a:p>
            <a:pPr marL="1588" eaLnBrk="0" hangingPunct="0">
              <a:lnSpc>
                <a:spcPct val="90000"/>
              </a:lnSpc>
              <a:defRPr/>
            </a:pPr>
            <a:r>
              <a:rPr lang="de-DE" sz="1600" dirty="0">
                <a:solidFill>
                  <a:schemeClr val="bg1"/>
                </a:solidFill>
              </a:rPr>
              <a:t>Webseite der Gesamtschule </a:t>
            </a:r>
            <a:r>
              <a:rPr lang="de-DE" sz="1600" dirty="0" err="1">
                <a:solidFill>
                  <a:schemeClr val="bg1"/>
                </a:solidFill>
              </a:rPr>
              <a:t>Hiesfeld</a:t>
            </a:r>
            <a:r>
              <a:rPr lang="de-DE" sz="1600" dirty="0">
                <a:solidFill>
                  <a:schemeClr val="bg1"/>
                </a:solidFill>
              </a:rPr>
              <a:t>: </a:t>
            </a:r>
            <a:r>
              <a:rPr lang="de-DE" sz="1600" u="sng" dirty="0">
                <a:solidFill>
                  <a:schemeClr val="bg1"/>
                </a:solidFill>
              </a:rPr>
              <a:t>http://gesamtschule-hiesfeld.de</a:t>
            </a:r>
          </a:p>
          <a:p>
            <a:pPr marL="1588" eaLnBrk="0" hangingPunct="0">
              <a:lnSpc>
                <a:spcPct val="90000"/>
              </a:lnSpc>
              <a:defRPr/>
            </a:pPr>
            <a:r>
              <a:rPr lang="de-DE" sz="1600" kern="0" dirty="0">
                <a:solidFill>
                  <a:schemeClr val="bg1"/>
                </a:solidFill>
              </a:rPr>
              <a:t>https://www.youtube.com/</a:t>
            </a:r>
          </a:p>
        </p:txBody>
      </p:sp>
    </p:spTree>
    <p:extLst>
      <p:ext uri="{BB962C8B-B14F-4D97-AF65-F5344CB8AC3E}">
        <p14:creationId xmlns:p14="http://schemas.microsoft.com/office/powerpoint/2010/main" val="234039434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2"/>
          </p:nvPr>
        </p:nvSpPr>
        <p:spPr/>
        <p:txBody>
          <a:bodyPr/>
          <a:lstStyle/>
          <a:p>
            <a:endParaRPr lang="de-DE" dirty="0"/>
          </a:p>
        </p:txBody>
      </p:sp>
      <p:sp>
        <p:nvSpPr>
          <p:cNvPr id="4" name="Titel 3"/>
          <p:cNvSpPr>
            <a:spLocks noGrp="1"/>
          </p:cNvSpPr>
          <p:nvPr>
            <p:ph type="title"/>
          </p:nvPr>
        </p:nvSpPr>
        <p:spPr>
          <a:xfrm>
            <a:off x="375652" y="980728"/>
            <a:ext cx="8639999" cy="738664"/>
          </a:xfrm>
        </p:spPr>
        <p:txBody>
          <a:bodyPr/>
          <a:lstStyle/>
          <a:p>
            <a:r>
              <a:rPr lang="de-DE" sz="2400" i="1" dirty="0">
                <a:solidFill>
                  <a:srgbClr val="92D050"/>
                </a:solidFill>
              </a:rPr>
              <a:t>Gibt es noch allgemeine Fragen?</a:t>
            </a:r>
            <a:br>
              <a:rPr lang="de-DE" sz="2400" i="1" dirty="0">
                <a:solidFill>
                  <a:srgbClr val="92D050"/>
                </a:solidFill>
              </a:rPr>
            </a:br>
            <a:r>
              <a:rPr lang="de-DE" sz="2400" i="1" dirty="0">
                <a:solidFill>
                  <a:srgbClr val="558ED5"/>
                </a:solidFill>
              </a:rPr>
              <a:t>Bis bald an der Gesamtschule </a:t>
            </a:r>
            <a:r>
              <a:rPr lang="de-DE" sz="2400" i="1" dirty="0" err="1">
                <a:solidFill>
                  <a:srgbClr val="558ED5"/>
                </a:solidFill>
              </a:rPr>
              <a:t>Hiesfeld</a:t>
            </a:r>
            <a:r>
              <a:rPr lang="de-DE" sz="2400" i="1" dirty="0">
                <a:solidFill>
                  <a:srgbClr val="558ED5"/>
                </a:solidFill>
              </a:rPr>
              <a:t>!</a:t>
            </a:r>
            <a:endParaRPr lang="de-DE" sz="2400" i="1" dirty="0"/>
          </a:p>
        </p:txBody>
      </p:sp>
      <p:pic>
        <p:nvPicPr>
          <p:cNvPr id="6" name="Grafik 5"/>
          <p:cNvPicPr>
            <a:picLocks noChangeAspect="1"/>
          </p:cNvPicPr>
          <p:nvPr/>
        </p:nvPicPr>
        <p:blipFill>
          <a:blip r:embed="rId2"/>
          <a:stretch>
            <a:fillRect/>
          </a:stretch>
        </p:blipFill>
        <p:spPr>
          <a:xfrm>
            <a:off x="250828" y="1772816"/>
            <a:ext cx="8392696" cy="3334215"/>
          </a:xfrm>
          <a:prstGeom prst="rect">
            <a:avLst/>
          </a:prstGeom>
        </p:spPr>
      </p:pic>
    </p:spTree>
    <p:extLst>
      <p:ext uri="{BB962C8B-B14F-4D97-AF65-F5344CB8AC3E}">
        <p14:creationId xmlns:p14="http://schemas.microsoft.com/office/powerpoint/2010/main" val="136641246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Inhaltsplatzhalter 2"/>
          <p:cNvSpPr>
            <a:spLocks noGrp="1"/>
          </p:cNvSpPr>
          <p:nvPr>
            <p:ph idx="1"/>
          </p:nvPr>
        </p:nvSpPr>
        <p:spPr/>
        <p:txBody>
          <a:bodyPr/>
          <a:lstStyle/>
          <a:p>
            <a:r>
              <a:rPr lang="de-DE" dirty="0"/>
              <a:t>Voraussetzung für den Erwerb des </a:t>
            </a:r>
            <a:r>
              <a:rPr lang="de-DE" b="1" dirty="0"/>
              <a:t>Mittleren Schulabschlusses (Fachoberschulreife) </a:t>
            </a:r>
            <a:r>
              <a:rPr lang="de-DE" dirty="0"/>
              <a:t>sind mindestens ausreichende Leistungen in mindestens </a:t>
            </a:r>
            <a:r>
              <a:rPr lang="de-DE" b="1" dirty="0"/>
              <a:t>zwei Fächern </a:t>
            </a:r>
            <a:r>
              <a:rPr lang="de-DE" dirty="0"/>
              <a:t>mit Unterricht auf </a:t>
            </a:r>
            <a:r>
              <a:rPr lang="de-DE" b="1" dirty="0"/>
              <a:t>Erweiterungsebene </a:t>
            </a:r>
            <a:r>
              <a:rPr lang="de-DE" dirty="0"/>
              <a:t>und im Fach des Wahlpflichtunterrichts, mindestens befriedigende Leistungen in den Fächern mit Unterricht auf der Grundebene sowie in den anderen Fächern mindestens zweimal mindestens befriedigende und im Übrigen höchstens in einem Fach nicht ausreichende Leistungen.</a:t>
            </a:r>
          </a:p>
          <a:p>
            <a:pPr marL="0" indent="0">
              <a:buNone/>
            </a:pPr>
            <a:endParaRPr lang="de-DE" dirty="0"/>
          </a:p>
          <a:p>
            <a:r>
              <a:rPr lang="de-DE" dirty="0"/>
              <a:t>Mit diesem Abschluss wird die Berechtigung zum </a:t>
            </a:r>
            <a:r>
              <a:rPr lang="de-DE" b="1" dirty="0"/>
              <a:t>Besuch der gymnasialen Oberstufe </a:t>
            </a:r>
            <a:r>
              <a:rPr lang="de-DE" dirty="0"/>
              <a:t>(Einführungsphase) des Gymnasiums, der Gesamtschule oder des Beruflichen Gymnasiums am Berufskolleg erworben, wenn die Leistungen in mindestens </a:t>
            </a:r>
            <a:r>
              <a:rPr lang="de-DE" b="1" dirty="0"/>
              <a:t>drei Fächern </a:t>
            </a:r>
            <a:r>
              <a:rPr lang="de-DE" dirty="0"/>
              <a:t>mit Unterricht auf </a:t>
            </a:r>
            <a:r>
              <a:rPr lang="de-DE" b="1" dirty="0"/>
              <a:t>Erweiterungsebene</a:t>
            </a:r>
            <a:r>
              <a:rPr lang="de-DE" dirty="0"/>
              <a:t>, im Fach des Wahlpflichtunterrichts und in den anderen Fächern mindestens befriedigend sowie im Unterricht auf der Grundebene mindestens gut sind.</a:t>
            </a:r>
          </a:p>
          <a:p>
            <a:pPr marL="0" indent="0">
              <a:buNone/>
            </a:pPr>
            <a:endParaRPr lang="de-DE" dirty="0"/>
          </a:p>
          <a:p>
            <a:r>
              <a:rPr lang="de-DE" dirty="0"/>
              <a:t>Minderleistungen können in begrenztem Umfang ausgeglichen werden.</a:t>
            </a:r>
          </a:p>
          <a:p>
            <a:endParaRPr lang="de-DE" dirty="0"/>
          </a:p>
        </p:txBody>
      </p:sp>
      <p:sp>
        <p:nvSpPr>
          <p:cNvPr id="4" name="Textplatzhalter 3"/>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1895067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4ACD8A-B7D5-4AD4-DE38-03A2FC018B0F}"/>
              </a:ext>
            </a:extLst>
          </p:cNvPr>
          <p:cNvSpPr>
            <a:spLocks noGrp="1"/>
          </p:cNvSpPr>
          <p:nvPr>
            <p:ph type="title"/>
          </p:nvPr>
        </p:nvSpPr>
        <p:spPr>
          <a:xfrm>
            <a:off x="504001" y="1052736"/>
            <a:ext cx="8639999" cy="369332"/>
          </a:xfrm>
        </p:spPr>
        <p:txBody>
          <a:bodyPr/>
          <a:lstStyle/>
          <a:p>
            <a:r>
              <a:rPr lang="de-DE" sz="2400" i="1" dirty="0"/>
              <a:t>Neubau für Jahrgang 5 und 6</a:t>
            </a:r>
          </a:p>
        </p:txBody>
      </p:sp>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560" y="1772816"/>
            <a:ext cx="7308304" cy="4111652"/>
          </a:xfrm>
          <a:prstGeom prst="rect">
            <a:avLst/>
          </a:prstGeom>
        </p:spPr>
      </p:pic>
      <p:pic>
        <p:nvPicPr>
          <p:cNvPr id="4" name="Grafik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87824" y="2325095"/>
            <a:ext cx="5244075" cy="39330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118433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4ACD8A-B7D5-4AD4-DE38-03A2FC018B0F}"/>
              </a:ext>
            </a:extLst>
          </p:cNvPr>
          <p:cNvSpPr>
            <a:spLocks noGrp="1"/>
          </p:cNvSpPr>
          <p:nvPr>
            <p:ph type="title"/>
          </p:nvPr>
        </p:nvSpPr>
        <p:spPr>
          <a:xfrm>
            <a:off x="504001" y="1052736"/>
            <a:ext cx="8639999" cy="369332"/>
          </a:xfrm>
        </p:spPr>
        <p:txBody>
          <a:bodyPr/>
          <a:lstStyle/>
          <a:p>
            <a:r>
              <a:rPr lang="de-DE" sz="2400" i="1" dirty="0"/>
              <a:t>Umbausituation/ Ausblick Sanierungsarbeiten</a:t>
            </a:r>
          </a:p>
        </p:txBody>
      </p:sp>
      <p:pic>
        <p:nvPicPr>
          <p:cNvPr id="5" name="Inhaltsplatzhalt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620408" y="1520825"/>
            <a:ext cx="6046060" cy="4535488"/>
          </a:xfrm>
        </p:spPr>
      </p:pic>
    </p:spTree>
    <p:extLst>
      <p:ext uri="{BB962C8B-B14F-4D97-AF65-F5344CB8AC3E}">
        <p14:creationId xmlns:p14="http://schemas.microsoft.com/office/powerpoint/2010/main" val="18776373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4ACD8A-B7D5-4AD4-DE38-03A2FC018B0F}"/>
              </a:ext>
            </a:extLst>
          </p:cNvPr>
          <p:cNvSpPr>
            <a:spLocks noGrp="1"/>
          </p:cNvSpPr>
          <p:nvPr>
            <p:ph type="title"/>
          </p:nvPr>
        </p:nvSpPr>
        <p:spPr>
          <a:xfrm>
            <a:off x="504001" y="1052736"/>
            <a:ext cx="8639999" cy="369332"/>
          </a:xfrm>
        </p:spPr>
        <p:txBody>
          <a:bodyPr/>
          <a:lstStyle/>
          <a:p>
            <a:r>
              <a:rPr lang="de-DE" sz="2400" i="1" dirty="0"/>
              <a:t>Umbausituation </a:t>
            </a:r>
          </a:p>
        </p:txBody>
      </p:sp>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2833" y="1556792"/>
            <a:ext cx="4328615" cy="2880320"/>
          </a:xfrm>
          <a:prstGeom prst="rect">
            <a:avLst/>
          </a:prstGeom>
        </p:spPr>
      </p:pic>
      <p:pic>
        <p:nvPicPr>
          <p:cNvPr id="4" name="Grafik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3888" y="2924944"/>
            <a:ext cx="5220072" cy="3473506"/>
          </a:xfrm>
          <a:prstGeom prst="rect">
            <a:avLst/>
          </a:prstGeom>
        </p:spPr>
      </p:pic>
    </p:spTree>
    <p:extLst>
      <p:ext uri="{BB962C8B-B14F-4D97-AF65-F5344CB8AC3E}">
        <p14:creationId xmlns:p14="http://schemas.microsoft.com/office/powerpoint/2010/main" val="36697587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840052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239612" y="894994"/>
            <a:ext cx="8639999" cy="369332"/>
          </a:xfrm>
        </p:spPr>
        <p:txBody>
          <a:bodyPr/>
          <a:lstStyle/>
          <a:p>
            <a:r>
              <a:rPr lang="en-US" sz="2400" b="1" dirty="0" err="1">
                <a:solidFill>
                  <a:srgbClr val="558ED5"/>
                </a:solidFill>
              </a:rPr>
              <a:t>Gesamtschulen</a:t>
            </a:r>
            <a:r>
              <a:rPr lang="en-US" sz="2400" b="1" dirty="0">
                <a:solidFill>
                  <a:srgbClr val="558ED5"/>
                </a:solidFill>
              </a:rPr>
              <a:t> </a:t>
            </a:r>
            <a:r>
              <a:rPr lang="en-US" sz="2400" b="1" dirty="0" err="1">
                <a:solidFill>
                  <a:srgbClr val="558ED5"/>
                </a:solidFill>
              </a:rPr>
              <a:t>als</a:t>
            </a:r>
            <a:r>
              <a:rPr lang="en-US" sz="2400" b="1" dirty="0">
                <a:solidFill>
                  <a:srgbClr val="558ED5"/>
                </a:solidFill>
              </a:rPr>
              <a:t> </a:t>
            </a:r>
            <a:r>
              <a:rPr lang="en-US" sz="2400" b="1" dirty="0" err="1">
                <a:solidFill>
                  <a:srgbClr val="558ED5"/>
                </a:solidFill>
              </a:rPr>
              <a:t>Schulform</a:t>
            </a:r>
            <a:r>
              <a:rPr lang="en-US" sz="2400" b="1" dirty="0">
                <a:solidFill>
                  <a:srgbClr val="558ED5"/>
                </a:solidFill>
              </a:rPr>
              <a:t>: </a:t>
            </a:r>
            <a:r>
              <a:rPr lang="en-US" sz="2400" b="1" dirty="0" err="1">
                <a:solidFill>
                  <a:srgbClr val="558ED5"/>
                </a:solidFill>
              </a:rPr>
              <a:t>Grundprinzipien</a:t>
            </a:r>
            <a:endParaRPr lang="en-US" sz="2400" b="1" dirty="0">
              <a:solidFill>
                <a:srgbClr val="558ED5"/>
              </a:solidFill>
            </a:endParaRPr>
          </a:p>
        </p:txBody>
      </p:sp>
      <p:sp>
        <p:nvSpPr>
          <p:cNvPr id="7" name="Titel 2"/>
          <p:cNvSpPr txBox="1">
            <a:spLocks/>
          </p:cNvSpPr>
          <p:nvPr/>
        </p:nvSpPr>
        <p:spPr>
          <a:xfrm>
            <a:off x="239612" y="1344974"/>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Schulabschlüsse</a:t>
            </a:r>
            <a:endParaRPr lang="en-US" i="1" dirty="0">
              <a:solidFill>
                <a:srgbClr val="92D050"/>
              </a:solidFill>
            </a:endParaRPr>
          </a:p>
        </p:txBody>
      </p:sp>
      <p:graphicFrame>
        <p:nvGraphicFramePr>
          <p:cNvPr id="9" name="Inhaltsplatzhalter 8"/>
          <p:cNvGraphicFramePr>
            <a:graphicFrameLocks noGrp="1"/>
          </p:cNvGraphicFramePr>
          <p:nvPr>
            <p:ph idx="1"/>
            <p:extLst>
              <p:ext uri="{D42A27DB-BD31-4B8C-83A1-F6EECF244321}">
                <p14:modId xmlns:p14="http://schemas.microsoft.com/office/powerpoint/2010/main" val="3660362924"/>
              </p:ext>
            </p:extLst>
          </p:nvPr>
        </p:nvGraphicFramePr>
        <p:xfrm>
          <a:off x="1666244" y="485529"/>
          <a:ext cx="7476551" cy="66979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7180896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57606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179511" y="827123"/>
            <a:ext cx="8639999" cy="369332"/>
          </a:xfrm>
        </p:spPr>
        <p:txBody>
          <a:bodyPr/>
          <a:lstStyle/>
          <a:p>
            <a:pPr>
              <a:spcAft>
                <a:spcPct val="0"/>
              </a:spcAft>
            </a:pPr>
            <a:r>
              <a:rPr lang="en-US" sz="2400" b="1" dirty="0" err="1">
                <a:solidFill>
                  <a:srgbClr val="558ED5"/>
                </a:solidFill>
              </a:rPr>
              <a:t>Gesamtschulen</a:t>
            </a:r>
            <a:r>
              <a:rPr lang="en-US" sz="2400" b="1" dirty="0">
                <a:solidFill>
                  <a:srgbClr val="558ED5"/>
                </a:solidFill>
              </a:rPr>
              <a:t> </a:t>
            </a:r>
            <a:r>
              <a:rPr lang="en-US" sz="2400" b="1" dirty="0" err="1">
                <a:solidFill>
                  <a:srgbClr val="558ED5"/>
                </a:solidFill>
              </a:rPr>
              <a:t>als</a:t>
            </a:r>
            <a:r>
              <a:rPr lang="en-US" sz="2400" b="1" dirty="0">
                <a:solidFill>
                  <a:srgbClr val="558ED5"/>
                </a:solidFill>
              </a:rPr>
              <a:t> </a:t>
            </a:r>
            <a:r>
              <a:rPr lang="en-US" sz="2400" b="1" dirty="0" err="1">
                <a:solidFill>
                  <a:srgbClr val="558ED5"/>
                </a:solidFill>
              </a:rPr>
              <a:t>Schulform</a:t>
            </a:r>
            <a:r>
              <a:rPr lang="en-US" sz="2400" b="1" dirty="0">
                <a:solidFill>
                  <a:srgbClr val="558ED5"/>
                </a:solidFill>
              </a:rPr>
              <a:t>: </a:t>
            </a:r>
            <a:r>
              <a:rPr lang="en-US" sz="2400" b="1" dirty="0" err="1">
                <a:solidFill>
                  <a:srgbClr val="558ED5"/>
                </a:solidFill>
              </a:rPr>
              <a:t>Grundprinzipien</a:t>
            </a:r>
            <a:endParaRPr lang="de-DE" sz="2400" b="1" dirty="0">
              <a:solidFill>
                <a:srgbClr val="558ED5"/>
              </a:solidFill>
            </a:endParaRPr>
          </a:p>
        </p:txBody>
      </p:sp>
      <p:sp>
        <p:nvSpPr>
          <p:cNvPr id="7" name="Titel 2"/>
          <p:cNvSpPr txBox="1">
            <a:spLocks/>
          </p:cNvSpPr>
          <p:nvPr/>
        </p:nvSpPr>
        <p:spPr>
          <a:xfrm>
            <a:off x="179511" y="1214961"/>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Wahlpflichtfächer</a:t>
            </a:r>
            <a:r>
              <a:rPr lang="en-US" i="1" dirty="0">
                <a:solidFill>
                  <a:srgbClr val="92D050"/>
                </a:solidFill>
              </a:rPr>
              <a:t> ab </a:t>
            </a:r>
            <a:r>
              <a:rPr lang="en-US" i="1" dirty="0" err="1">
                <a:solidFill>
                  <a:srgbClr val="92D050"/>
                </a:solidFill>
              </a:rPr>
              <a:t>Klasse</a:t>
            </a:r>
            <a:r>
              <a:rPr lang="en-US" i="1" dirty="0">
                <a:solidFill>
                  <a:srgbClr val="92D050"/>
                </a:solidFill>
              </a:rPr>
              <a:t> 7</a:t>
            </a:r>
          </a:p>
        </p:txBody>
      </p:sp>
      <p:graphicFrame>
        <p:nvGraphicFramePr>
          <p:cNvPr id="11" name="Diagramm 10"/>
          <p:cNvGraphicFramePr/>
          <p:nvPr>
            <p:extLst>
              <p:ext uri="{D42A27DB-BD31-4B8C-83A1-F6EECF244321}">
                <p14:modId xmlns:p14="http://schemas.microsoft.com/office/powerpoint/2010/main" val="664201640"/>
              </p:ext>
            </p:extLst>
          </p:nvPr>
        </p:nvGraphicFramePr>
        <p:xfrm>
          <a:off x="2915816" y="1984222"/>
          <a:ext cx="5433897" cy="36063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4" name="AutoShape 72"/>
          <p:cNvSpPr>
            <a:spLocks noChangeArrowheads="1"/>
          </p:cNvSpPr>
          <p:nvPr/>
        </p:nvSpPr>
        <p:spPr bwMode="auto">
          <a:xfrm>
            <a:off x="0" y="6021288"/>
            <a:ext cx="8280399" cy="432048"/>
          </a:xfrm>
          <a:prstGeom prst="rect">
            <a:avLst/>
          </a:prstGeom>
          <a:solidFill>
            <a:srgbClr val="558ED5"/>
          </a:solidFill>
          <a:ln w="12700" algn="ctr">
            <a:noFill/>
            <a:round/>
            <a:headEnd/>
            <a:tailEnd/>
          </a:ln>
          <a:effectLst/>
        </p:spPr>
        <p:txBody>
          <a:bodyPr lIns="252000" anchor="ctr"/>
          <a:lstStyle/>
          <a:p>
            <a:pPr marL="1588" eaLnBrk="0" hangingPunct="0">
              <a:lnSpc>
                <a:spcPct val="90000"/>
              </a:lnSpc>
              <a:defRPr/>
            </a:pPr>
            <a:r>
              <a:rPr lang="de-DE" sz="1400" b="1" kern="0" dirty="0">
                <a:solidFill>
                  <a:schemeClr val="accent1">
                    <a:lumMod val="10000"/>
                  </a:schemeClr>
                </a:solidFill>
              </a:rPr>
              <a:t>Erste individuelle Schullaufbahngestaltung, 4. Hauptfach mit Klassenarbeiten  und erste Kursbildungen; Ausblick: zusätzlich WP Sportwissenschaften</a:t>
            </a:r>
          </a:p>
        </p:txBody>
      </p:sp>
      <p:sp>
        <p:nvSpPr>
          <p:cNvPr id="16" name="Freeform 5"/>
          <p:cNvSpPr>
            <a:spLocks noChangeAspect="1" noEditPoints="1"/>
          </p:cNvSpPr>
          <p:nvPr/>
        </p:nvSpPr>
        <p:spPr bwMode="auto">
          <a:xfrm>
            <a:off x="3728663" y="3262266"/>
            <a:ext cx="432047" cy="432047"/>
          </a:xfrm>
          <a:custGeom>
            <a:avLst/>
            <a:gdLst>
              <a:gd name="T0" fmla="*/ 78 w 1008"/>
              <a:gd name="T1" fmla="*/ 633 h 1008"/>
              <a:gd name="T2" fmla="*/ 103 w 1008"/>
              <a:gd name="T3" fmla="*/ 622 h 1008"/>
              <a:gd name="T4" fmla="*/ 235 w 1008"/>
              <a:gd name="T5" fmla="*/ 546 h 1008"/>
              <a:gd name="T6" fmla="*/ 296 w 1008"/>
              <a:gd name="T7" fmla="*/ 633 h 1008"/>
              <a:gd name="T8" fmla="*/ 430 w 1008"/>
              <a:gd name="T9" fmla="*/ 545 h 1008"/>
              <a:gd name="T10" fmla="*/ 453 w 1008"/>
              <a:gd name="T11" fmla="*/ 395 h 1008"/>
              <a:gd name="T12" fmla="*/ 560 w 1008"/>
              <a:gd name="T13" fmla="*/ 401 h 1008"/>
              <a:gd name="T14" fmla="*/ 574 w 1008"/>
              <a:gd name="T15" fmla="*/ 242 h 1008"/>
              <a:gd name="T16" fmla="*/ 471 w 1008"/>
              <a:gd name="T17" fmla="*/ 130 h 1008"/>
              <a:gd name="T18" fmla="*/ 542 w 1008"/>
              <a:gd name="T19" fmla="*/ 51 h 1008"/>
              <a:gd name="T20" fmla="*/ 965 w 1008"/>
              <a:gd name="T21" fmla="*/ 489 h 1008"/>
              <a:gd name="T22" fmla="*/ 913 w 1008"/>
              <a:gd name="T23" fmla="*/ 384 h 1008"/>
              <a:gd name="T24" fmla="*/ 754 w 1008"/>
              <a:gd name="T25" fmla="*/ 363 h 1008"/>
              <a:gd name="T26" fmla="*/ 737 w 1008"/>
              <a:gd name="T27" fmla="*/ 468 h 1008"/>
              <a:gd name="T28" fmla="*/ 585 w 1008"/>
              <a:gd name="T29" fmla="*/ 457 h 1008"/>
              <a:gd name="T30" fmla="*/ 469 w 1008"/>
              <a:gd name="T31" fmla="*/ 568 h 1008"/>
              <a:gd name="T32" fmla="*/ 541 w 1008"/>
              <a:gd name="T33" fmla="*/ 647 h 1008"/>
              <a:gd name="T34" fmla="*/ 438 w 1008"/>
              <a:gd name="T35" fmla="*/ 759 h 1008"/>
              <a:gd name="T36" fmla="*/ 452 w 1008"/>
              <a:gd name="T37" fmla="*/ 919 h 1008"/>
              <a:gd name="T38" fmla="*/ 559 w 1008"/>
              <a:gd name="T39" fmla="*/ 912 h 1008"/>
              <a:gd name="T40" fmla="*/ 504 w 1008"/>
              <a:gd name="T41" fmla="*/ 966 h 1008"/>
              <a:gd name="T42" fmla="*/ 101 w 1008"/>
              <a:gd name="T43" fmla="*/ 279 h 1008"/>
              <a:gd name="T44" fmla="*/ 279 w 1008"/>
              <a:gd name="T45" fmla="*/ 244 h 1008"/>
              <a:gd name="T46" fmla="*/ 488 w 1008"/>
              <a:gd name="T47" fmla="*/ 43 h 1008"/>
              <a:gd name="T48" fmla="*/ 432 w 1008"/>
              <a:gd name="T49" fmla="*/ 107 h 1008"/>
              <a:gd name="T50" fmla="*/ 450 w 1008"/>
              <a:gd name="T51" fmla="*/ 241 h 1008"/>
              <a:gd name="T52" fmla="*/ 547 w 1008"/>
              <a:gd name="T53" fmla="*/ 279 h 1008"/>
              <a:gd name="T54" fmla="*/ 447 w 1008"/>
              <a:gd name="T55" fmla="*/ 350 h 1008"/>
              <a:gd name="T56" fmla="*/ 354 w 1008"/>
              <a:gd name="T57" fmla="*/ 448 h 1008"/>
              <a:gd name="T58" fmla="*/ 384 w 1008"/>
              <a:gd name="T59" fmla="*/ 547 h 1008"/>
              <a:gd name="T60" fmla="*/ 266 w 1008"/>
              <a:gd name="T61" fmla="*/ 513 h 1008"/>
              <a:gd name="T62" fmla="*/ 131 w 1008"/>
              <a:gd name="T63" fmla="*/ 502 h 1008"/>
              <a:gd name="T64" fmla="*/ 72 w 1008"/>
              <a:gd name="T65" fmla="*/ 587 h 1008"/>
              <a:gd name="T66" fmla="*/ 43 w 1008"/>
              <a:gd name="T67" fmla="*/ 504 h 1008"/>
              <a:gd name="T68" fmla="*/ 187 w 1008"/>
              <a:gd name="T69" fmla="*/ 194 h 1008"/>
              <a:gd name="T70" fmla="*/ 187 w 1008"/>
              <a:gd name="T71" fmla="*/ 294 h 1008"/>
              <a:gd name="T72" fmla="*/ 187 w 1008"/>
              <a:gd name="T73" fmla="*/ 194 h 1008"/>
              <a:gd name="T74" fmla="*/ 732 w 1008"/>
              <a:gd name="T75" fmla="*/ 761 h 1008"/>
              <a:gd name="T76" fmla="*/ 637 w 1008"/>
              <a:gd name="T77" fmla="*/ 946 h 1008"/>
              <a:gd name="T78" fmla="*/ 565 w 1008"/>
              <a:gd name="T79" fmla="*/ 867 h 1008"/>
              <a:gd name="T80" fmla="*/ 465 w 1008"/>
              <a:gd name="T81" fmla="*/ 796 h 1008"/>
              <a:gd name="T82" fmla="*/ 561 w 1008"/>
              <a:gd name="T83" fmla="*/ 758 h 1008"/>
              <a:gd name="T84" fmla="*/ 580 w 1008"/>
              <a:gd name="T85" fmla="*/ 624 h 1008"/>
              <a:gd name="T86" fmla="*/ 573 w 1008"/>
              <a:gd name="T87" fmla="*/ 502 h 1008"/>
              <a:gd name="T88" fmla="*/ 663 w 1008"/>
              <a:gd name="T89" fmla="*/ 553 h 1008"/>
              <a:gd name="T90" fmla="*/ 779 w 1008"/>
              <a:gd name="T91" fmla="*/ 484 h 1008"/>
              <a:gd name="T92" fmla="*/ 870 w 1008"/>
              <a:gd name="T93" fmla="*/ 402 h 1008"/>
              <a:gd name="T94" fmla="*/ 887 w 1008"/>
              <a:gd name="T95" fmla="*/ 505 h 1008"/>
              <a:gd name="T96" fmla="*/ 909 w 1008"/>
              <a:gd name="T97" fmla="*/ 724 h 1008"/>
              <a:gd name="T98" fmla="*/ 825 w 1008"/>
              <a:gd name="T99" fmla="*/ 811 h 1008"/>
              <a:gd name="T100" fmla="*/ 825 w 1008"/>
              <a:gd name="T101" fmla="*/ 711 h 1008"/>
              <a:gd name="T102" fmla="*/ 825 w 1008"/>
              <a:gd name="T103" fmla="*/ 811 h 1008"/>
              <a:gd name="T104" fmla="*/ 0 w 1008"/>
              <a:gd name="T105" fmla="*/ 504 h 1008"/>
              <a:gd name="T106" fmla="*/ 1008 w 1008"/>
              <a:gd name="T107" fmla="*/ 504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8" h="1008">
                <a:moveTo>
                  <a:pt x="59" y="627"/>
                </a:moveTo>
                <a:cubicBezTo>
                  <a:pt x="65" y="629"/>
                  <a:pt x="72" y="632"/>
                  <a:pt x="78" y="633"/>
                </a:cubicBezTo>
                <a:cubicBezTo>
                  <a:pt x="80" y="634"/>
                  <a:pt x="82" y="634"/>
                  <a:pt x="83" y="634"/>
                </a:cubicBezTo>
                <a:cubicBezTo>
                  <a:pt x="91" y="634"/>
                  <a:pt x="99" y="630"/>
                  <a:pt x="103" y="622"/>
                </a:cubicBezTo>
                <a:lnTo>
                  <a:pt x="139" y="546"/>
                </a:lnTo>
                <a:cubicBezTo>
                  <a:pt x="171" y="552"/>
                  <a:pt x="203" y="552"/>
                  <a:pt x="235" y="546"/>
                </a:cubicBezTo>
                <a:lnTo>
                  <a:pt x="271" y="622"/>
                </a:lnTo>
                <a:cubicBezTo>
                  <a:pt x="276" y="631"/>
                  <a:pt x="286" y="636"/>
                  <a:pt x="296" y="633"/>
                </a:cubicBezTo>
                <a:cubicBezTo>
                  <a:pt x="342" y="620"/>
                  <a:pt x="385" y="600"/>
                  <a:pt x="423" y="572"/>
                </a:cubicBezTo>
                <a:cubicBezTo>
                  <a:pt x="432" y="566"/>
                  <a:pt x="434" y="555"/>
                  <a:pt x="430" y="545"/>
                </a:cubicBezTo>
                <a:lnTo>
                  <a:pt x="394" y="470"/>
                </a:lnTo>
                <a:cubicBezTo>
                  <a:pt x="417" y="448"/>
                  <a:pt x="437" y="423"/>
                  <a:pt x="453" y="395"/>
                </a:cubicBezTo>
                <a:lnTo>
                  <a:pt x="535" y="414"/>
                </a:lnTo>
                <a:cubicBezTo>
                  <a:pt x="545" y="416"/>
                  <a:pt x="556" y="411"/>
                  <a:pt x="560" y="401"/>
                </a:cubicBezTo>
                <a:cubicBezTo>
                  <a:pt x="578" y="359"/>
                  <a:pt x="588" y="312"/>
                  <a:pt x="590" y="264"/>
                </a:cubicBezTo>
                <a:cubicBezTo>
                  <a:pt x="591" y="253"/>
                  <a:pt x="584" y="244"/>
                  <a:pt x="574" y="242"/>
                </a:cubicBezTo>
                <a:lnTo>
                  <a:pt x="492" y="223"/>
                </a:lnTo>
                <a:cubicBezTo>
                  <a:pt x="490" y="191"/>
                  <a:pt x="483" y="160"/>
                  <a:pt x="471" y="130"/>
                </a:cubicBezTo>
                <a:lnTo>
                  <a:pt x="537" y="77"/>
                </a:lnTo>
                <a:cubicBezTo>
                  <a:pt x="545" y="71"/>
                  <a:pt x="547" y="60"/>
                  <a:pt x="542" y="51"/>
                </a:cubicBezTo>
                <a:cubicBezTo>
                  <a:pt x="541" y="48"/>
                  <a:pt x="540" y="46"/>
                  <a:pt x="538" y="44"/>
                </a:cubicBezTo>
                <a:cubicBezTo>
                  <a:pt x="772" y="61"/>
                  <a:pt x="958" y="253"/>
                  <a:pt x="965" y="489"/>
                </a:cubicBezTo>
                <a:cubicBezTo>
                  <a:pt x="949" y="481"/>
                  <a:pt x="931" y="473"/>
                  <a:pt x="913" y="468"/>
                </a:cubicBezTo>
                <a:lnTo>
                  <a:pt x="913" y="384"/>
                </a:lnTo>
                <a:cubicBezTo>
                  <a:pt x="913" y="374"/>
                  <a:pt x="906" y="365"/>
                  <a:pt x="895" y="363"/>
                </a:cubicBezTo>
                <a:cubicBezTo>
                  <a:pt x="846" y="354"/>
                  <a:pt x="804" y="354"/>
                  <a:pt x="754" y="363"/>
                </a:cubicBezTo>
                <a:cubicBezTo>
                  <a:pt x="744" y="365"/>
                  <a:pt x="737" y="374"/>
                  <a:pt x="737" y="384"/>
                </a:cubicBezTo>
                <a:lnTo>
                  <a:pt x="737" y="468"/>
                </a:lnTo>
                <a:cubicBezTo>
                  <a:pt x="706" y="477"/>
                  <a:pt x="677" y="491"/>
                  <a:pt x="651" y="509"/>
                </a:cubicBezTo>
                <a:lnTo>
                  <a:pt x="585" y="457"/>
                </a:lnTo>
                <a:cubicBezTo>
                  <a:pt x="577" y="451"/>
                  <a:pt x="565" y="451"/>
                  <a:pt x="558" y="458"/>
                </a:cubicBezTo>
                <a:cubicBezTo>
                  <a:pt x="521" y="490"/>
                  <a:pt x="492" y="527"/>
                  <a:pt x="469" y="568"/>
                </a:cubicBezTo>
                <a:cubicBezTo>
                  <a:pt x="464" y="577"/>
                  <a:pt x="467" y="588"/>
                  <a:pt x="475" y="595"/>
                </a:cubicBezTo>
                <a:lnTo>
                  <a:pt x="541" y="647"/>
                </a:lnTo>
                <a:cubicBezTo>
                  <a:pt x="529" y="677"/>
                  <a:pt x="521" y="708"/>
                  <a:pt x="519" y="740"/>
                </a:cubicBezTo>
                <a:lnTo>
                  <a:pt x="438" y="759"/>
                </a:lnTo>
                <a:cubicBezTo>
                  <a:pt x="428" y="761"/>
                  <a:pt x="421" y="771"/>
                  <a:pt x="421" y="781"/>
                </a:cubicBezTo>
                <a:cubicBezTo>
                  <a:pt x="424" y="829"/>
                  <a:pt x="434" y="876"/>
                  <a:pt x="452" y="919"/>
                </a:cubicBezTo>
                <a:cubicBezTo>
                  <a:pt x="456" y="928"/>
                  <a:pt x="466" y="933"/>
                  <a:pt x="476" y="931"/>
                </a:cubicBezTo>
                <a:lnTo>
                  <a:pt x="559" y="912"/>
                </a:lnTo>
                <a:cubicBezTo>
                  <a:pt x="568" y="928"/>
                  <a:pt x="578" y="943"/>
                  <a:pt x="590" y="957"/>
                </a:cubicBezTo>
                <a:cubicBezTo>
                  <a:pt x="562" y="963"/>
                  <a:pt x="533" y="966"/>
                  <a:pt x="504" y="966"/>
                </a:cubicBezTo>
                <a:cubicBezTo>
                  <a:pt x="292" y="966"/>
                  <a:pt x="113" y="822"/>
                  <a:pt x="59" y="627"/>
                </a:cubicBezTo>
                <a:close/>
                <a:moveTo>
                  <a:pt x="101" y="279"/>
                </a:moveTo>
                <a:cubicBezTo>
                  <a:pt x="115" y="313"/>
                  <a:pt x="148" y="336"/>
                  <a:pt x="187" y="336"/>
                </a:cubicBezTo>
                <a:cubicBezTo>
                  <a:pt x="238" y="336"/>
                  <a:pt x="279" y="295"/>
                  <a:pt x="279" y="244"/>
                </a:cubicBezTo>
                <a:cubicBezTo>
                  <a:pt x="279" y="199"/>
                  <a:pt x="247" y="162"/>
                  <a:pt x="204" y="153"/>
                </a:cubicBezTo>
                <a:cubicBezTo>
                  <a:pt x="281" y="88"/>
                  <a:pt x="380" y="47"/>
                  <a:pt x="488" y="43"/>
                </a:cubicBezTo>
                <a:cubicBezTo>
                  <a:pt x="490" y="47"/>
                  <a:pt x="493" y="51"/>
                  <a:pt x="496" y="56"/>
                </a:cubicBezTo>
                <a:lnTo>
                  <a:pt x="432" y="107"/>
                </a:lnTo>
                <a:cubicBezTo>
                  <a:pt x="424" y="113"/>
                  <a:pt x="422" y="124"/>
                  <a:pt x="426" y="133"/>
                </a:cubicBezTo>
                <a:cubicBezTo>
                  <a:pt x="442" y="167"/>
                  <a:pt x="450" y="203"/>
                  <a:pt x="450" y="241"/>
                </a:cubicBezTo>
                <a:cubicBezTo>
                  <a:pt x="451" y="250"/>
                  <a:pt x="457" y="259"/>
                  <a:pt x="467" y="261"/>
                </a:cubicBezTo>
                <a:lnTo>
                  <a:pt x="547" y="279"/>
                </a:lnTo>
                <a:cubicBezTo>
                  <a:pt x="544" y="310"/>
                  <a:pt x="537" y="340"/>
                  <a:pt x="527" y="368"/>
                </a:cubicBezTo>
                <a:lnTo>
                  <a:pt x="447" y="350"/>
                </a:lnTo>
                <a:cubicBezTo>
                  <a:pt x="437" y="348"/>
                  <a:pt x="427" y="352"/>
                  <a:pt x="423" y="361"/>
                </a:cubicBezTo>
                <a:cubicBezTo>
                  <a:pt x="406" y="395"/>
                  <a:pt x="383" y="424"/>
                  <a:pt x="354" y="448"/>
                </a:cubicBezTo>
                <a:cubicBezTo>
                  <a:pt x="346" y="454"/>
                  <a:pt x="344" y="465"/>
                  <a:pt x="348" y="474"/>
                </a:cubicBezTo>
                <a:lnTo>
                  <a:pt x="384" y="547"/>
                </a:lnTo>
                <a:cubicBezTo>
                  <a:pt x="358" y="564"/>
                  <a:pt x="330" y="577"/>
                  <a:pt x="301" y="587"/>
                </a:cubicBezTo>
                <a:lnTo>
                  <a:pt x="266" y="513"/>
                </a:lnTo>
                <a:cubicBezTo>
                  <a:pt x="262" y="505"/>
                  <a:pt x="252" y="500"/>
                  <a:pt x="242" y="502"/>
                </a:cubicBezTo>
                <a:cubicBezTo>
                  <a:pt x="205" y="510"/>
                  <a:pt x="168" y="510"/>
                  <a:pt x="131" y="502"/>
                </a:cubicBezTo>
                <a:cubicBezTo>
                  <a:pt x="122" y="500"/>
                  <a:pt x="112" y="505"/>
                  <a:pt x="108" y="513"/>
                </a:cubicBezTo>
                <a:lnTo>
                  <a:pt x="72" y="587"/>
                </a:lnTo>
                <a:cubicBezTo>
                  <a:pt x="64" y="584"/>
                  <a:pt x="56" y="581"/>
                  <a:pt x="49" y="578"/>
                </a:cubicBezTo>
                <a:cubicBezTo>
                  <a:pt x="45" y="554"/>
                  <a:pt x="43" y="529"/>
                  <a:pt x="43" y="504"/>
                </a:cubicBezTo>
                <a:cubicBezTo>
                  <a:pt x="43" y="422"/>
                  <a:pt x="64" y="346"/>
                  <a:pt x="101" y="279"/>
                </a:cubicBezTo>
                <a:close/>
                <a:moveTo>
                  <a:pt x="187" y="194"/>
                </a:moveTo>
                <a:cubicBezTo>
                  <a:pt x="214" y="194"/>
                  <a:pt x="237" y="216"/>
                  <a:pt x="237" y="244"/>
                </a:cubicBezTo>
                <a:cubicBezTo>
                  <a:pt x="237" y="271"/>
                  <a:pt x="214" y="294"/>
                  <a:pt x="187" y="294"/>
                </a:cubicBezTo>
                <a:cubicBezTo>
                  <a:pt x="159" y="294"/>
                  <a:pt x="137" y="271"/>
                  <a:pt x="137" y="244"/>
                </a:cubicBezTo>
                <a:cubicBezTo>
                  <a:pt x="137" y="216"/>
                  <a:pt x="159" y="194"/>
                  <a:pt x="187" y="194"/>
                </a:cubicBezTo>
                <a:close/>
                <a:moveTo>
                  <a:pt x="825" y="669"/>
                </a:moveTo>
                <a:cubicBezTo>
                  <a:pt x="774" y="669"/>
                  <a:pt x="732" y="710"/>
                  <a:pt x="732" y="761"/>
                </a:cubicBezTo>
                <a:cubicBezTo>
                  <a:pt x="732" y="806"/>
                  <a:pt x="765" y="843"/>
                  <a:pt x="807" y="852"/>
                </a:cubicBezTo>
                <a:cubicBezTo>
                  <a:pt x="758" y="894"/>
                  <a:pt x="701" y="927"/>
                  <a:pt x="637" y="946"/>
                </a:cubicBezTo>
                <a:cubicBezTo>
                  <a:pt x="618" y="926"/>
                  <a:pt x="601" y="904"/>
                  <a:pt x="589" y="878"/>
                </a:cubicBezTo>
                <a:cubicBezTo>
                  <a:pt x="584" y="870"/>
                  <a:pt x="575" y="865"/>
                  <a:pt x="565" y="867"/>
                </a:cubicBezTo>
                <a:lnTo>
                  <a:pt x="485" y="886"/>
                </a:lnTo>
                <a:cubicBezTo>
                  <a:pt x="474" y="857"/>
                  <a:pt x="468" y="828"/>
                  <a:pt x="465" y="796"/>
                </a:cubicBezTo>
                <a:lnTo>
                  <a:pt x="545" y="778"/>
                </a:lnTo>
                <a:cubicBezTo>
                  <a:pt x="554" y="776"/>
                  <a:pt x="561" y="768"/>
                  <a:pt x="561" y="758"/>
                </a:cubicBezTo>
                <a:cubicBezTo>
                  <a:pt x="562" y="720"/>
                  <a:pt x="570" y="684"/>
                  <a:pt x="586" y="650"/>
                </a:cubicBezTo>
                <a:cubicBezTo>
                  <a:pt x="590" y="641"/>
                  <a:pt x="588" y="630"/>
                  <a:pt x="580" y="624"/>
                </a:cubicBezTo>
                <a:lnTo>
                  <a:pt x="515" y="573"/>
                </a:lnTo>
                <a:cubicBezTo>
                  <a:pt x="531" y="547"/>
                  <a:pt x="550" y="523"/>
                  <a:pt x="573" y="502"/>
                </a:cubicBezTo>
                <a:lnTo>
                  <a:pt x="637" y="553"/>
                </a:lnTo>
                <a:cubicBezTo>
                  <a:pt x="644" y="559"/>
                  <a:pt x="655" y="559"/>
                  <a:pt x="663" y="553"/>
                </a:cubicBezTo>
                <a:cubicBezTo>
                  <a:pt x="693" y="530"/>
                  <a:pt x="726" y="514"/>
                  <a:pt x="763" y="505"/>
                </a:cubicBezTo>
                <a:cubicBezTo>
                  <a:pt x="772" y="503"/>
                  <a:pt x="779" y="494"/>
                  <a:pt x="779" y="484"/>
                </a:cubicBezTo>
                <a:lnTo>
                  <a:pt x="779" y="402"/>
                </a:lnTo>
                <a:cubicBezTo>
                  <a:pt x="811" y="398"/>
                  <a:pt x="839" y="398"/>
                  <a:pt x="870" y="402"/>
                </a:cubicBezTo>
                <a:lnTo>
                  <a:pt x="870" y="484"/>
                </a:lnTo>
                <a:cubicBezTo>
                  <a:pt x="870" y="494"/>
                  <a:pt x="877" y="503"/>
                  <a:pt x="887" y="505"/>
                </a:cubicBezTo>
                <a:cubicBezTo>
                  <a:pt x="914" y="512"/>
                  <a:pt x="940" y="523"/>
                  <a:pt x="964" y="538"/>
                </a:cubicBezTo>
                <a:cubicBezTo>
                  <a:pt x="959" y="605"/>
                  <a:pt x="940" y="668"/>
                  <a:pt x="909" y="724"/>
                </a:cubicBezTo>
                <a:cubicBezTo>
                  <a:pt x="895" y="692"/>
                  <a:pt x="863" y="669"/>
                  <a:pt x="825" y="669"/>
                </a:cubicBezTo>
                <a:close/>
                <a:moveTo>
                  <a:pt x="825" y="811"/>
                </a:moveTo>
                <a:cubicBezTo>
                  <a:pt x="797" y="811"/>
                  <a:pt x="775" y="789"/>
                  <a:pt x="775" y="761"/>
                </a:cubicBezTo>
                <a:cubicBezTo>
                  <a:pt x="775" y="734"/>
                  <a:pt x="797" y="711"/>
                  <a:pt x="825" y="711"/>
                </a:cubicBezTo>
                <a:cubicBezTo>
                  <a:pt x="852" y="711"/>
                  <a:pt x="875" y="734"/>
                  <a:pt x="875" y="761"/>
                </a:cubicBezTo>
                <a:cubicBezTo>
                  <a:pt x="875" y="789"/>
                  <a:pt x="852" y="811"/>
                  <a:pt x="825" y="811"/>
                </a:cubicBezTo>
                <a:close/>
                <a:moveTo>
                  <a:pt x="504" y="0"/>
                </a:moveTo>
                <a:cubicBezTo>
                  <a:pt x="226" y="0"/>
                  <a:pt x="0" y="226"/>
                  <a:pt x="0" y="504"/>
                </a:cubicBezTo>
                <a:cubicBezTo>
                  <a:pt x="0" y="782"/>
                  <a:pt x="226" y="1008"/>
                  <a:pt x="504" y="1008"/>
                </a:cubicBezTo>
                <a:cubicBezTo>
                  <a:pt x="782" y="1008"/>
                  <a:pt x="1008" y="782"/>
                  <a:pt x="1008" y="504"/>
                </a:cubicBezTo>
                <a:cubicBezTo>
                  <a:pt x="1008" y="226"/>
                  <a:pt x="782" y="0"/>
                  <a:pt x="504" y="0"/>
                </a:cubicBezTo>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 name="Freeform 29"/>
          <p:cNvSpPr>
            <a:spLocks noChangeAspect="1" noEditPoints="1"/>
          </p:cNvSpPr>
          <p:nvPr/>
        </p:nvSpPr>
        <p:spPr bwMode="auto">
          <a:xfrm>
            <a:off x="3706527" y="3850949"/>
            <a:ext cx="552644" cy="552644"/>
          </a:xfrm>
          <a:custGeom>
            <a:avLst/>
            <a:gdLst>
              <a:gd name="T0" fmla="*/ 2196 w 4483"/>
              <a:gd name="T1" fmla="*/ 2671 h 4483"/>
              <a:gd name="T2" fmla="*/ 2333 w 4483"/>
              <a:gd name="T3" fmla="*/ 2534 h 4483"/>
              <a:gd name="T4" fmla="*/ 2196 w 4483"/>
              <a:gd name="T5" fmla="*/ 2397 h 4483"/>
              <a:gd name="T6" fmla="*/ 2059 w 4483"/>
              <a:gd name="T7" fmla="*/ 2534 h 4483"/>
              <a:gd name="T8" fmla="*/ 2196 w 4483"/>
              <a:gd name="T9" fmla="*/ 2671 h 4483"/>
              <a:gd name="T10" fmla="*/ 2470 w 4483"/>
              <a:gd name="T11" fmla="*/ 3158 h 4483"/>
              <a:gd name="T12" fmla="*/ 2607 w 4483"/>
              <a:gd name="T13" fmla="*/ 3021 h 4483"/>
              <a:gd name="T14" fmla="*/ 2470 w 4483"/>
              <a:gd name="T15" fmla="*/ 2884 h 4483"/>
              <a:gd name="T16" fmla="*/ 2333 w 4483"/>
              <a:gd name="T17" fmla="*/ 3021 h 4483"/>
              <a:gd name="T18" fmla="*/ 2470 w 4483"/>
              <a:gd name="T19" fmla="*/ 3158 h 4483"/>
              <a:gd name="T20" fmla="*/ 2010 w 4483"/>
              <a:gd name="T21" fmla="*/ 3295 h 4483"/>
              <a:gd name="T22" fmla="*/ 2147 w 4483"/>
              <a:gd name="T23" fmla="*/ 3158 h 4483"/>
              <a:gd name="T24" fmla="*/ 2010 w 4483"/>
              <a:gd name="T25" fmla="*/ 3021 h 4483"/>
              <a:gd name="T26" fmla="*/ 1873 w 4483"/>
              <a:gd name="T27" fmla="*/ 3158 h 4483"/>
              <a:gd name="T28" fmla="*/ 2010 w 4483"/>
              <a:gd name="T29" fmla="*/ 3295 h 4483"/>
              <a:gd name="T30" fmla="*/ 3241 w 4483"/>
              <a:gd name="T31" fmla="*/ 3603 h 4483"/>
              <a:gd name="T32" fmla="*/ 3253 w 4483"/>
              <a:gd name="T33" fmla="*/ 3504 h 4483"/>
              <a:gd name="T34" fmla="*/ 2632 w 4483"/>
              <a:gd name="T35" fmla="*/ 1768 h 4483"/>
              <a:gd name="T36" fmla="*/ 2626 w 4483"/>
              <a:gd name="T37" fmla="*/ 816 h 4483"/>
              <a:gd name="T38" fmla="*/ 2644 w 4483"/>
              <a:gd name="T39" fmla="*/ 816 h 4483"/>
              <a:gd name="T40" fmla="*/ 2750 w 4483"/>
              <a:gd name="T41" fmla="*/ 709 h 4483"/>
              <a:gd name="T42" fmla="*/ 2644 w 4483"/>
              <a:gd name="T43" fmla="*/ 602 h 4483"/>
              <a:gd name="T44" fmla="*/ 2518 w 4483"/>
              <a:gd name="T45" fmla="*/ 602 h 4483"/>
              <a:gd name="T46" fmla="*/ 2442 w 4483"/>
              <a:gd name="T47" fmla="*/ 634 h 4483"/>
              <a:gd name="T48" fmla="*/ 2411 w 4483"/>
              <a:gd name="T49" fmla="*/ 710 h 4483"/>
              <a:gd name="T50" fmla="*/ 2418 w 4483"/>
              <a:gd name="T51" fmla="*/ 1772 h 4483"/>
              <a:gd name="T52" fmla="*/ 2739 w 4483"/>
              <a:gd name="T53" fmla="*/ 2736 h 4483"/>
              <a:gd name="T54" fmla="*/ 2999 w 4483"/>
              <a:gd name="T55" fmla="*/ 3435 h 4483"/>
              <a:gd name="T56" fmla="*/ 1485 w 4483"/>
              <a:gd name="T57" fmla="*/ 3435 h 4483"/>
              <a:gd name="T58" fmla="*/ 1747 w 4483"/>
              <a:gd name="T59" fmla="*/ 2745 h 4483"/>
              <a:gd name="T60" fmla="*/ 2072 w 4483"/>
              <a:gd name="T61" fmla="*/ 1776 h 4483"/>
              <a:gd name="T62" fmla="*/ 2072 w 4483"/>
              <a:gd name="T63" fmla="*/ 709 h 4483"/>
              <a:gd name="T64" fmla="*/ 1965 w 4483"/>
              <a:gd name="T65" fmla="*/ 602 h 4483"/>
              <a:gd name="T66" fmla="*/ 1840 w 4483"/>
              <a:gd name="T67" fmla="*/ 602 h 4483"/>
              <a:gd name="T68" fmla="*/ 1733 w 4483"/>
              <a:gd name="T69" fmla="*/ 709 h 4483"/>
              <a:gd name="T70" fmla="*/ 1840 w 4483"/>
              <a:gd name="T71" fmla="*/ 816 h 4483"/>
              <a:gd name="T72" fmla="*/ 1858 w 4483"/>
              <a:gd name="T73" fmla="*/ 816 h 4483"/>
              <a:gd name="T74" fmla="*/ 1858 w 4483"/>
              <a:gd name="T75" fmla="*/ 1773 h 4483"/>
              <a:gd name="T76" fmla="*/ 1230 w 4483"/>
              <a:gd name="T77" fmla="*/ 3503 h 4483"/>
              <a:gd name="T78" fmla="*/ 1241 w 4483"/>
              <a:gd name="T79" fmla="*/ 3603 h 4483"/>
              <a:gd name="T80" fmla="*/ 1329 w 4483"/>
              <a:gd name="T81" fmla="*/ 3649 h 4483"/>
              <a:gd name="T82" fmla="*/ 3153 w 4483"/>
              <a:gd name="T83" fmla="*/ 3649 h 4483"/>
              <a:gd name="T84" fmla="*/ 3241 w 4483"/>
              <a:gd name="T85" fmla="*/ 3603 h 4483"/>
              <a:gd name="T86" fmla="*/ 2241 w 4483"/>
              <a:gd name="T87" fmla="*/ 214 h 4483"/>
              <a:gd name="T88" fmla="*/ 214 w 4483"/>
              <a:gd name="T89" fmla="*/ 2241 h 4483"/>
              <a:gd name="T90" fmla="*/ 2241 w 4483"/>
              <a:gd name="T91" fmla="*/ 4269 h 4483"/>
              <a:gd name="T92" fmla="*/ 4269 w 4483"/>
              <a:gd name="T93" fmla="*/ 2241 h 4483"/>
              <a:gd name="T94" fmla="*/ 2241 w 4483"/>
              <a:gd name="T95" fmla="*/ 214 h 4483"/>
              <a:gd name="T96" fmla="*/ 2241 w 4483"/>
              <a:gd name="T97" fmla="*/ 4483 h 4483"/>
              <a:gd name="T98" fmla="*/ 0 w 4483"/>
              <a:gd name="T99" fmla="*/ 2241 h 4483"/>
              <a:gd name="T100" fmla="*/ 2241 w 4483"/>
              <a:gd name="T101" fmla="*/ 0 h 4483"/>
              <a:gd name="T102" fmla="*/ 4483 w 4483"/>
              <a:gd name="T103" fmla="*/ 2241 h 4483"/>
              <a:gd name="T104" fmla="*/ 2241 w 4483"/>
              <a:gd name="T105" fmla="*/ 4483 h 4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83" h="4483">
                <a:moveTo>
                  <a:pt x="2196" y="2671"/>
                </a:moveTo>
                <a:cubicBezTo>
                  <a:pt x="2272" y="2671"/>
                  <a:pt x="2333" y="2610"/>
                  <a:pt x="2333" y="2534"/>
                </a:cubicBezTo>
                <a:cubicBezTo>
                  <a:pt x="2333" y="2459"/>
                  <a:pt x="2272" y="2397"/>
                  <a:pt x="2196" y="2397"/>
                </a:cubicBezTo>
                <a:cubicBezTo>
                  <a:pt x="2121" y="2397"/>
                  <a:pt x="2059" y="2459"/>
                  <a:pt x="2059" y="2534"/>
                </a:cubicBezTo>
                <a:cubicBezTo>
                  <a:pt x="2059" y="2610"/>
                  <a:pt x="2121" y="2671"/>
                  <a:pt x="2196" y="2671"/>
                </a:cubicBezTo>
                <a:moveTo>
                  <a:pt x="2470" y="3158"/>
                </a:moveTo>
                <a:cubicBezTo>
                  <a:pt x="2546" y="3158"/>
                  <a:pt x="2607" y="3097"/>
                  <a:pt x="2607" y="3021"/>
                </a:cubicBezTo>
                <a:cubicBezTo>
                  <a:pt x="2607" y="2945"/>
                  <a:pt x="2546" y="2884"/>
                  <a:pt x="2470" y="2884"/>
                </a:cubicBezTo>
                <a:cubicBezTo>
                  <a:pt x="2395" y="2884"/>
                  <a:pt x="2333" y="2945"/>
                  <a:pt x="2333" y="3021"/>
                </a:cubicBezTo>
                <a:cubicBezTo>
                  <a:pt x="2333" y="3097"/>
                  <a:pt x="2395" y="3158"/>
                  <a:pt x="2470" y="3158"/>
                </a:cubicBezTo>
                <a:moveTo>
                  <a:pt x="2010" y="3295"/>
                </a:moveTo>
                <a:cubicBezTo>
                  <a:pt x="2085" y="3295"/>
                  <a:pt x="2147" y="3234"/>
                  <a:pt x="2147" y="3158"/>
                </a:cubicBezTo>
                <a:cubicBezTo>
                  <a:pt x="2147" y="3082"/>
                  <a:pt x="2085" y="3021"/>
                  <a:pt x="2010" y="3021"/>
                </a:cubicBezTo>
                <a:cubicBezTo>
                  <a:pt x="1934" y="3021"/>
                  <a:pt x="1873" y="3082"/>
                  <a:pt x="1873" y="3158"/>
                </a:cubicBezTo>
                <a:cubicBezTo>
                  <a:pt x="1873" y="3234"/>
                  <a:pt x="1934" y="3295"/>
                  <a:pt x="2010" y="3295"/>
                </a:cubicBezTo>
                <a:moveTo>
                  <a:pt x="3241" y="3603"/>
                </a:moveTo>
                <a:cubicBezTo>
                  <a:pt x="3261" y="3574"/>
                  <a:pt x="3266" y="3537"/>
                  <a:pt x="3253" y="3504"/>
                </a:cubicBezTo>
                <a:cubicBezTo>
                  <a:pt x="3023" y="2895"/>
                  <a:pt x="2652" y="1889"/>
                  <a:pt x="2632" y="1768"/>
                </a:cubicBezTo>
                <a:cubicBezTo>
                  <a:pt x="2632" y="1664"/>
                  <a:pt x="2628" y="1065"/>
                  <a:pt x="2626" y="816"/>
                </a:cubicBezTo>
                <a:lnTo>
                  <a:pt x="2644" y="816"/>
                </a:lnTo>
                <a:cubicBezTo>
                  <a:pt x="2703" y="816"/>
                  <a:pt x="2750" y="768"/>
                  <a:pt x="2750" y="709"/>
                </a:cubicBezTo>
                <a:cubicBezTo>
                  <a:pt x="2750" y="650"/>
                  <a:pt x="2703" y="602"/>
                  <a:pt x="2644" y="602"/>
                </a:cubicBezTo>
                <a:lnTo>
                  <a:pt x="2518" y="602"/>
                </a:lnTo>
                <a:cubicBezTo>
                  <a:pt x="2489" y="602"/>
                  <a:pt x="2462" y="613"/>
                  <a:pt x="2442" y="634"/>
                </a:cubicBezTo>
                <a:cubicBezTo>
                  <a:pt x="2422" y="654"/>
                  <a:pt x="2411" y="681"/>
                  <a:pt x="2411" y="710"/>
                </a:cubicBezTo>
                <a:cubicBezTo>
                  <a:pt x="2411" y="719"/>
                  <a:pt x="2418" y="1662"/>
                  <a:pt x="2418" y="1772"/>
                </a:cubicBezTo>
                <a:cubicBezTo>
                  <a:pt x="2418" y="1805"/>
                  <a:pt x="2418" y="1861"/>
                  <a:pt x="2739" y="2736"/>
                </a:cubicBezTo>
                <a:cubicBezTo>
                  <a:pt x="2839" y="3008"/>
                  <a:pt x="2939" y="3276"/>
                  <a:pt x="2999" y="3435"/>
                </a:cubicBezTo>
                <a:lnTo>
                  <a:pt x="1485" y="3435"/>
                </a:lnTo>
                <a:cubicBezTo>
                  <a:pt x="1546" y="3278"/>
                  <a:pt x="1647" y="3014"/>
                  <a:pt x="1747" y="2745"/>
                </a:cubicBezTo>
                <a:cubicBezTo>
                  <a:pt x="2072" y="1877"/>
                  <a:pt x="2072" y="1811"/>
                  <a:pt x="2072" y="1776"/>
                </a:cubicBezTo>
                <a:lnTo>
                  <a:pt x="2072" y="709"/>
                </a:lnTo>
                <a:cubicBezTo>
                  <a:pt x="2072" y="650"/>
                  <a:pt x="2024" y="602"/>
                  <a:pt x="1965" y="602"/>
                </a:cubicBezTo>
                <a:lnTo>
                  <a:pt x="1840" y="602"/>
                </a:lnTo>
                <a:cubicBezTo>
                  <a:pt x="1781" y="602"/>
                  <a:pt x="1733" y="650"/>
                  <a:pt x="1733" y="709"/>
                </a:cubicBezTo>
                <a:cubicBezTo>
                  <a:pt x="1733" y="768"/>
                  <a:pt x="1781" y="816"/>
                  <a:pt x="1840" y="816"/>
                </a:cubicBezTo>
                <a:lnTo>
                  <a:pt x="1858" y="816"/>
                </a:lnTo>
                <a:lnTo>
                  <a:pt x="1858" y="1773"/>
                </a:lnTo>
                <a:cubicBezTo>
                  <a:pt x="1843" y="1884"/>
                  <a:pt x="1524" y="2746"/>
                  <a:pt x="1230" y="3503"/>
                </a:cubicBezTo>
                <a:cubicBezTo>
                  <a:pt x="1217" y="3536"/>
                  <a:pt x="1221" y="3574"/>
                  <a:pt x="1241" y="3603"/>
                </a:cubicBezTo>
                <a:cubicBezTo>
                  <a:pt x="1261" y="3632"/>
                  <a:pt x="1294" y="3649"/>
                  <a:pt x="1329" y="3649"/>
                </a:cubicBezTo>
                <a:lnTo>
                  <a:pt x="3153" y="3649"/>
                </a:lnTo>
                <a:cubicBezTo>
                  <a:pt x="3189" y="3649"/>
                  <a:pt x="3221" y="3632"/>
                  <a:pt x="3241" y="3603"/>
                </a:cubicBezTo>
                <a:close/>
                <a:moveTo>
                  <a:pt x="2241" y="214"/>
                </a:moveTo>
                <a:cubicBezTo>
                  <a:pt x="1123" y="214"/>
                  <a:pt x="214" y="1123"/>
                  <a:pt x="214" y="2241"/>
                </a:cubicBezTo>
                <a:cubicBezTo>
                  <a:pt x="214" y="3359"/>
                  <a:pt x="1123" y="4269"/>
                  <a:pt x="2241" y="4269"/>
                </a:cubicBezTo>
                <a:cubicBezTo>
                  <a:pt x="3359" y="4269"/>
                  <a:pt x="4269" y="3359"/>
                  <a:pt x="4269" y="2241"/>
                </a:cubicBezTo>
                <a:cubicBezTo>
                  <a:pt x="4269" y="1123"/>
                  <a:pt x="3359" y="214"/>
                  <a:pt x="2241" y="214"/>
                </a:cubicBezTo>
                <a:close/>
                <a:moveTo>
                  <a:pt x="2241" y="4483"/>
                </a:moveTo>
                <a:cubicBezTo>
                  <a:pt x="1005" y="4483"/>
                  <a:pt x="0" y="3477"/>
                  <a:pt x="0" y="2241"/>
                </a:cubicBezTo>
                <a:cubicBezTo>
                  <a:pt x="0" y="1005"/>
                  <a:pt x="1005" y="0"/>
                  <a:pt x="2241" y="0"/>
                </a:cubicBezTo>
                <a:cubicBezTo>
                  <a:pt x="3477" y="0"/>
                  <a:pt x="4483" y="1005"/>
                  <a:pt x="4483" y="2241"/>
                </a:cubicBezTo>
                <a:cubicBezTo>
                  <a:pt x="4483" y="3477"/>
                  <a:pt x="3477" y="4483"/>
                  <a:pt x="2241" y="4483"/>
                </a:cubicBezTo>
              </a:path>
            </a:pathLst>
          </a:custGeom>
          <a:solidFill>
            <a:schemeClr val="tx1">
              <a:lumMod val="50000"/>
            </a:schemeClr>
          </a:solidFill>
          <a:ln>
            <a:solidFill>
              <a:srgbClr val="3B434F"/>
            </a:solidFill>
          </a:ln>
        </p:spPr>
        <p:txBody>
          <a:bodyPr vert="horz" wrap="square" lIns="91440" tIns="45720" rIns="91440" bIns="45720" numCol="1" anchor="t" anchorCtr="0" compatLnSpc="1">
            <a:prstTxWarp prst="textNoShape">
              <a:avLst/>
            </a:prstTxWarp>
          </a:bodyPr>
          <a:lstStyle/>
          <a:p>
            <a:endParaRPr lang="de-DE" dirty="0"/>
          </a:p>
        </p:txBody>
      </p:sp>
      <p:sp>
        <p:nvSpPr>
          <p:cNvPr id="23" name="Freeform 163"/>
          <p:cNvSpPr>
            <a:spLocks noChangeAspect="1" noEditPoints="1"/>
          </p:cNvSpPr>
          <p:nvPr/>
        </p:nvSpPr>
        <p:spPr bwMode="auto">
          <a:xfrm>
            <a:off x="3738220" y="2016682"/>
            <a:ext cx="432048" cy="432048"/>
          </a:xfrm>
          <a:custGeom>
            <a:avLst/>
            <a:gdLst>
              <a:gd name="T0" fmla="*/ 1134 w 3361"/>
              <a:gd name="T1" fmla="*/ 3130 h 3361"/>
              <a:gd name="T2" fmla="*/ 1870 w 3361"/>
              <a:gd name="T3" fmla="*/ 3218 h 3361"/>
              <a:gd name="T4" fmla="*/ 2546 w 3361"/>
              <a:gd name="T5" fmla="*/ 2964 h 3361"/>
              <a:gd name="T6" fmla="*/ 762 w 3361"/>
              <a:gd name="T7" fmla="*/ 2015 h 3361"/>
              <a:gd name="T8" fmla="*/ 483 w 3361"/>
              <a:gd name="T9" fmla="*/ 2662 h 3361"/>
              <a:gd name="T10" fmla="*/ 1864 w 3361"/>
              <a:gd name="T11" fmla="*/ 2471 h 3361"/>
              <a:gd name="T12" fmla="*/ 1549 w 3361"/>
              <a:gd name="T13" fmla="*/ 1906 h 3361"/>
              <a:gd name="T14" fmla="*/ 1201 w 3361"/>
              <a:gd name="T15" fmla="*/ 2664 h 3361"/>
              <a:gd name="T16" fmla="*/ 1107 w 3361"/>
              <a:gd name="T17" fmla="*/ 693 h 3361"/>
              <a:gd name="T18" fmla="*/ 863 w 3361"/>
              <a:gd name="T19" fmla="*/ 938 h 3361"/>
              <a:gd name="T20" fmla="*/ 952 w 3361"/>
              <a:gd name="T21" fmla="*/ 1279 h 3361"/>
              <a:gd name="T22" fmla="*/ 1295 w 3361"/>
              <a:gd name="T23" fmla="*/ 1370 h 3361"/>
              <a:gd name="T24" fmla="*/ 1539 w 3361"/>
              <a:gd name="T25" fmla="*/ 1124 h 3361"/>
              <a:gd name="T26" fmla="*/ 1449 w 3361"/>
              <a:gd name="T27" fmla="*/ 783 h 3361"/>
              <a:gd name="T28" fmla="*/ 1257 w 3361"/>
              <a:gd name="T29" fmla="*/ 553 h 3361"/>
              <a:gd name="T30" fmla="*/ 1607 w 3361"/>
              <a:gd name="T31" fmla="*/ 773 h 3361"/>
              <a:gd name="T32" fmla="*/ 1655 w 3361"/>
              <a:gd name="T33" fmla="*/ 1194 h 3361"/>
              <a:gd name="T34" fmla="*/ 1363 w 3361"/>
              <a:gd name="T35" fmla="*/ 1485 h 3361"/>
              <a:gd name="T36" fmla="*/ 943 w 3361"/>
              <a:gd name="T37" fmla="*/ 1438 h 3361"/>
              <a:gd name="T38" fmla="*/ 722 w 3361"/>
              <a:gd name="T39" fmla="*/ 1088 h 3361"/>
              <a:gd name="T40" fmla="*/ 861 w 3361"/>
              <a:gd name="T41" fmla="*/ 691 h 3361"/>
              <a:gd name="T42" fmla="*/ 2483 w 3361"/>
              <a:gd name="T43" fmla="*/ 357 h 3361"/>
              <a:gd name="T44" fmla="*/ 2450 w 3361"/>
              <a:gd name="T45" fmla="*/ 1107 h 3361"/>
              <a:gd name="T46" fmla="*/ 2507 w 3361"/>
              <a:gd name="T47" fmla="*/ 1455 h 3361"/>
              <a:gd name="T48" fmla="*/ 3157 w 3361"/>
              <a:gd name="T49" fmla="*/ 1215 h 3361"/>
              <a:gd name="T50" fmla="*/ 2773 w 3361"/>
              <a:gd name="T51" fmla="*/ 586 h 3361"/>
              <a:gd name="T52" fmla="*/ 1392 w 3361"/>
              <a:gd name="T53" fmla="*/ 158 h 3361"/>
              <a:gd name="T54" fmla="*/ 722 w 3361"/>
              <a:gd name="T55" fmla="*/ 463 h 3361"/>
              <a:gd name="T56" fmla="*/ 272 w 3361"/>
              <a:gd name="T57" fmla="*/ 1036 h 3361"/>
              <a:gd name="T58" fmla="*/ 133 w 3361"/>
              <a:gd name="T59" fmla="*/ 1773 h 3361"/>
              <a:gd name="T60" fmla="*/ 338 w 3361"/>
              <a:gd name="T61" fmla="*/ 2451 h 3361"/>
              <a:gd name="T62" fmla="*/ 652 w 3361"/>
              <a:gd name="T63" fmla="*/ 1942 h 3361"/>
              <a:gd name="T64" fmla="*/ 1081 w 3361"/>
              <a:gd name="T65" fmla="*/ 1619 h 3361"/>
              <a:gd name="T66" fmla="*/ 1538 w 3361"/>
              <a:gd name="T67" fmla="*/ 1721 h 3361"/>
              <a:gd name="T68" fmla="*/ 1899 w 3361"/>
              <a:gd name="T69" fmla="*/ 2202 h 3361"/>
              <a:gd name="T70" fmla="*/ 2988 w 3361"/>
              <a:gd name="T71" fmla="*/ 2511 h 3361"/>
              <a:gd name="T72" fmla="*/ 3227 w 3361"/>
              <a:gd name="T73" fmla="*/ 1781 h 3361"/>
              <a:gd name="T74" fmla="*/ 2449 w 3361"/>
              <a:gd name="T75" fmla="*/ 1581 h 3361"/>
              <a:gd name="T76" fmla="*/ 1907 w 3361"/>
              <a:gd name="T77" fmla="*/ 1229 h 3361"/>
              <a:gd name="T78" fmla="*/ 1846 w 3361"/>
              <a:gd name="T79" fmla="*/ 1140 h 3361"/>
              <a:gd name="T80" fmla="*/ 2030 w 3361"/>
              <a:gd name="T81" fmla="*/ 171 h 3361"/>
              <a:gd name="T82" fmla="*/ 1981 w 3361"/>
              <a:gd name="T83" fmla="*/ 27 h 3361"/>
              <a:gd name="T84" fmla="*/ 2532 w 3361"/>
              <a:gd name="T85" fmla="*/ 232 h 3361"/>
              <a:gd name="T86" fmla="*/ 3076 w 3361"/>
              <a:gd name="T87" fmla="*/ 747 h 3361"/>
              <a:gd name="T88" fmla="*/ 3346 w 3361"/>
              <a:gd name="T89" fmla="*/ 1458 h 3361"/>
              <a:gd name="T90" fmla="*/ 3358 w 3361"/>
              <a:gd name="T91" fmla="*/ 1783 h 3361"/>
              <a:gd name="T92" fmla="*/ 3128 w 3361"/>
              <a:gd name="T93" fmla="*/ 2533 h 3361"/>
              <a:gd name="T94" fmla="*/ 2750 w 3361"/>
              <a:gd name="T95" fmla="*/ 2975 h 3361"/>
              <a:gd name="T96" fmla="*/ 2074 w 3361"/>
              <a:gd name="T97" fmla="*/ 3314 h 3361"/>
              <a:gd name="T98" fmla="*/ 1287 w 3361"/>
              <a:gd name="T99" fmla="*/ 3314 h 3361"/>
              <a:gd name="T100" fmla="*/ 611 w 3361"/>
              <a:gd name="T101" fmla="*/ 2975 h 3361"/>
              <a:gd name="T102" fmla="*/ 356 w 3361"/>
              <a:gd name="T103" fmla="*/ 2714 h 3361"/>
              <a:gd name="T104" fmla="*/ 51 w 3361"/>
              <a:gd name="T105" fmla="*/ 2090 h 3361"/>
              <a:gd name="T106" fmla="*/ 48 w 3361"/>
              <a:gd name="T107" fmla="*/ 1282 h 3361"/>
              <a:gd name="T108" fmla="*/ 396 w 3361"/>
              <a:gd name="T109" fmla="*/ 599 h 3361"/>
              <a:gd name="T110" fmla="*/ 1005 w 3361"/>
              <a:gd name="T111" fmla="*/ 142 h 3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61" h="3361">
                <a:moveTo>
                  <a:pt x="606" y="2795"/>
                </a:moveTo>
                <a:lnTo>
                  <a:pt x="672" y="2855"/>
                </a:lnTo>
                <a:lnTo>
                  <a:pt x="741" y="2912"/>
                </a:lnTo>
                <a:lnTo>
                  <a:pt x="815" y="2964"/>
                </a:lnTo>
                <a:lnTo>
                  <a:pt x="890" y="3012"/>
                </a:lnTo>
                <a:lnTo>
                  <a:pt x="969" y="3055"/>
                </a:lnTo>
                <a:lnTo>
                  <a:pt x="1050" y="3095"/>
                </a:lnTo>
                <a:lnTo>
                  <a:pt x="1134" y="3130"/>
                </a:lnTo>
                <a:lnTo>
                  <a:pt x="1220" y="3160"/>
                </a:lnTo>
                <a:lnTo>
                  <a:pt x="1308" y="3185"/>
                </a:lnTo>
                <a:lnTo>
                  <a:pt x="1398" y="3204"/>
                </a:lnTo>
                <a:lnTo>
                  <a:pt x="1491" y="3218"/>
                </a:lnTo>
                <a:lnTo>
                  <a:pt x="1585" y="3228"/>
                </a:lnTo>
                <a:lnTo>
                  <a:pt x="1679" y="3231"/>
                </a:lnTo>
                <a:lnTo>
                  <a:pt x="1776" y="3228"/>
                </a:lnTo>
                <a:lnTo>
                  <a:pt x="1870" y="3218"/>
                </a:lnTo>
                <a:lnTo>
                  <a:pt x="1963" y="3204"/>
                </a:lnTo>
                <a:lnTo>
                  <a:pt x="2053" y="3185"/>
                </a:lnTo>
                <a:lnTo>
                  <a:pt x="2141" y="3160"/>
                </a:lnTo>
                <a:lnTo>
                  <a:pt x="2227" y="3130"/>
                </a:lnTo>
                <a:lnTo>
                  <a:pt x="2311" y="3095"/>
                </a:lnTo>
                <a:lnTo>
                  <a:pt x="2392" y="3055"/>
                </a:lnTo>
                <a:lnTo>
                  <a:pt x="2471" y="3012"/>
                </a:lnTo>
                <a:lnTo>
                  <a:pt x="2546" y="2964"/>
                </a:lnTo>
                <a:lnTo>
                  <a:pt x="2620" y="2912"/>
                </a:lnTo>
                <a:lnTo>
                  <a:pt x="2689" y="2855"/>
                </a:lnTo>
                <a:lnTo>
                  <a:pt x="2755" y="2795"/>
                </a:lnTo>
                <a:lnTo>
                  <a:pt x="606" y="2795"/>
                </a:lnTo>
                <a:close/>
                <a:moveTo>
                  <a:pt x="900" y="1862"/>
                </a:moveTo>
                <a:lnTo>
                  <a:pt x="852" y="1907"/>
                </a:lnTo>
                <a:lnTo>
                  <a:pt x="807" y="1958"/>
                </a:lnTo>
                <a:lnTo>
                  <a:pt x="762" y="2015"/>
                </a:lnTo>
                <a:lnTo>
                  <a:pt x="719" y="2077"/>
                </a:lnTo>
                <a:lnTo>
                  <a:pt x="678" y="2145"/>
                </a:lnTo>
                <a:lnTo>
                  <a:pt x="640" y="2219"/>
                </a:lnTo>
                <a:lnTo>
                  <a:pt x="604" y="2298"/>
                </a:lnTo>
                <a:lnTo>
                  <a:pt x="569" y="2382"/>
                </a:lnTo>
                <a:lnTo>
                  <a:pt x="538" y="2471"/>
                </a:lnTo>
                <a:lnTo>
                  <a:pt x="509" y="2565"/>
                </a:lnTo>
                <a:lnTo>
                  <a:pt x="483" y="2662"/>
                </a:lnTo>
                <a:lnTo>
                  <a:pt x="484" y="2664"/>
                </a:lnTo>
                <a:lnTo>
                  <a:pt x="1067" y="2664"/>
                </a:lnTo>
                <a:lnTo>
                  <a:pt x="900" y="1862"/>
                </a:lnTo>
                <a:close/>
                <a:moveTo>
                  <a:pt x="1501" y="1861"/>
                </a:moveTo>
                <a:lnTo>
                  <a:pt x="1334" y="2664"/>
                </a:lnTo>
                <a:lnTo>
                  <a:pt x="1920" y="2664"/>
                </a:lnTo>
                <a:lnTo>
                  <a:pt x="1893" y="2566"/>
                </a:lnTo>
                <a:lnTo>
                  <a:pt x="1864" y="2471"/>
                </a:lnTo>
                <a:lnTo>
                  <a:pt x="1832" y="2382"/>
                </a:lnTo>
                <a:lnTo>
                  <a:pt x="1799" y="2298"/>
                </a:lnTo>
                <a:lnTo>
                  <a:pt x="1762" y="2218"/>
                </a:lnTo>
                <a:lnTo>
                  <a:pt x="1723" y="2144"/>
                </a:lnTo>
                <a:lnTo>
                  <a:pt x="1683" y="2076"/>
                </a:lnTo>
                <a:lnTo>
                  <a:pt x="1640" y="2013"/>
                </a:lnTo>
                <a:lnTo>
                  <a:pt x="1595" y="1957"/>
                </a:lnTo>
                <a:lnTo>
                  <a:pt x="1549" y="1906"/>
                </a:lnTo>
                <a:lnTo>
                  <a:pt x="1501" y="1861"/>
                </a:lnTo>
                <a:close/>
                <a:moveTo>
                  <a:pt x="1201" y="1735"/>
                </a:moveTo>
                <a:lnTo>
                  <a:pt x="1154" y="1739"/>
                </a:lnTo>
                <a:lnTo>
                  <a:pt x="1108" y="1748"/>
                </a:lnTo>
                <a:lnTo>
                  <a:pt x="1062" y="1762"/>
                </a:lnTo>
                <a:lnTo>
                  <a:pt x="1017" y="1782"/>
                </a:lnTo>
                <a:lnTo>
                  <a:pt x="1201" y="2664"/>
                </a:lnTo>
                <a:lnTo>
                  <a:pt x="1201" y="2664"/>
                </a:lnTo>
                <a:lnTo>
                  <a:pt x="1384" y="1781"/>
                </a:lnTo>
                <a:lnTo>
                  <a:pt x="1339" y="1762"/>
                </a:lnTo>
                <a:lnTo>
                  <a:pt x="1293" y="1748"/>
                </a:lnTo>
                <a:lnTo>
                  <a:pt x="1248" y="1739"/>
                </a:lnTo>
                <a:lnTo>
                  <a:pt x="1201" y="1735"/>
                </a:lnTo>
                <a:close/>
                <a:moveTo>
                  <a:pt x="1201" y="680"/>
                </a:moveTo>
                <a:lnTo>
                  <a:pt x="1153" y="683"/>
                </a:lnTo>
                <a:lnTo>
                  <a:pt x="1107" y="693"/>
                </a:lnTo>
                <a:lnTo>
                  <a:pt x="1064" y="708"/>
                </a:lnTo>
                <a:lnTo>
                  <a:pt x="1024" y="728"/>
                </a:lnTo>
                <a:lnTo>
                  <a:pt x="986" y="754"/>
                </a:lnTo>
                <a:lnTo>
                  <a:pt x="952" y="783"/>
                </a:lnTo>
                <a:lnTo>
                  <a:pt x="923" y="817"/>
                </a:lnTo>
                <a:lnTo>
                  <a:pt x="897" y="854"/>
                </a:lnTo>
                <a:lnTo>
                  <a:pt x="877" y="894"/>
                </a:lnTo>
                <a:lnTo>
                  <a:pt x="863" y="938"/>
                </a:lnTo>
                <a:lnTo>
                  <a:pt x="852" y="984"/>
                </a:lnTo>
                <a:lnTo>
                  <a:pt x="849" y="1031"/>
                </a:lnTo>
                <a:lnTo>
                  <a:pt x="852" y="1079"/>
                </a:lnTo>
                <a:lnTo>
                  <a:pt x="863" y="1124"/>
                </a:lnTo>
                <a:lnTo>
                  <a:pt x="877" y="1168"/>
                </a:lnTo>
                <a:lnTo>
                  <a:pt x="897" y="1208"/>
                </a:lnTo>
                <a:lnTo>
                  <a:pt x="923" y="1246"/>
                </a:lnTo>
                <a:lnTo>
                  <a:pt x="952" y="1279"/>
                </a:lnTo>
                <a:lnTo>
                  <a:pt x="986" y="1309"/>
                </a:lnTo>
                <a:lnTo>
                  <a:pt x="1024" y="1334"/>
                </a:lnTo>
                <a:lnTo>
                  <a:pt x="1064" y="1355"/>
                </a:lnTo>
                <a:lnTo>
                  <a:pt x="1107" y="1370"/>
                </a:lnTo>
                <a:lnTo>
                  <a:pt x="1153" y="1379"/>
                </a:lnTo>
                <a:lnTo>
                  <a:pt x="1201" y="1382"/>
                </a:lnTo>
                <a:lnTo>
                  <a:pt x="1249" y="1379"/>
                </a:lnTo>
                <a:lnTo>
                  <a:pt x="1295" y="1370"/>
                </a:lnTo>
                <a:lnTo>
                  <a:pt x="1337" y="1355"/>
                </a:lnTo>
                <a:lnTo>
                  <a:pt x="1378" y="1334"/>
                </a:lnTo>
                <a:lnTo>
                  <a:pt x="1415" y="1309"/>
                </a:lnTo>
                <a:lnTo>
                  <a:pt x="1449" y="1279"/>
                </a:lnTo>
                <a:lnTo>
                  <a:pt x="1479" y="1246"/>
                </a:lnTo>
                <a:lnTo>
                  <a:pt x="1504" y="1208"/>
                </a:lnTo>
                <a:lnTo>
                  <a:pt x="1525" y="1168"/>
                </a:lnTo>
                <a:lnTo>
                  <a:pt x="1539" y="1124"/>
                </a:lnTo>
                <a:lnTo>
                  <a:pt x="1549" y="1079"/>
                </a:lnTo>
                <a:lnTo>
                  <a:pt x="1552" y="1031"/>
                </a:lnTo>
                <a:lnTo>
                  <a:pt x="1549" y="984"/>
                </a:lnTo>
                <a:lnTo>
                  <a:pt x="1539" y="938"/>
                </a:lnTo>
                <a:lnTo>
                  <a:pt x="1525" y="894"/>
                </a:lnTo>
                <a:lnTo>
                  <a:pt x="1504" y="854"/>
                </a:lnTo>
                <a:lnTo>
                  <a:pt x="1479" y="817"/>
                </a:lnTo>
                <a:lnTo>
                  <a:pt x="1449" y="783"/>
                </a:lnTo>
                <a:lnTo>
                  <a:pt x="1415" y="754"/>
                </a:lnTo>
                <a:lnTo>
                  <a:pt x="1378" y="728"/>
                </a:lnTo>
                <a:lnTo>
                  <a:pt x="1337" y="708"/>
                </a:lnTo>
                <a:lnTo>
                  <a:pt x="1295" y="693"/>
                </a:lnTo>
                <a:lnTo>
                  <a:pt x="1249" y="683"/>
                </a:lnTo>
                <a:lnTo>
                  <a:pt x="1201" y="680"/>
                </a:lnTo>
                <a:close/>
                <a:moveTo>
                  <a:pt x="1201" y="549"/>
                </a:moveTo>
                <a:lnTo>
                  <a:pt x="1257" y="553"/>
                </a:lnTo>
                <a:lnTo>
                  <a:pt x="1311" y="562"/>
                </a:lnTo>
                <a:lnTo>
                  <a:pt x="1363" y="577"/>
                </a:lnTo>
                <a:lnTo>
                  <a:pt x="1413" y="599"/>
                </a:lnTo>
                <a:lnTo>
                  <a:pt x="1458" y="624"/>
                </a:lnTo>
                <a:lnTo>
                  <a:pt x="1502" y="655"/>
                </a:lnTo>
                <a:lnTo>
                  <a:pt x="1541" y="691"/>
                </a:lnTo>
                <a:lnTo>
                  <a:pt x="1577" y="730"/>
                </a:lnTo>
                <a:lnTo>
                  <a:pt x="1607" y="773"/>
                </a:lnTo>
                <a:lnTo>
                  <a:pt x="1634" y="820"/>
                </a:lnTo>
                <a:lnTo>
                  <a:pt x="1655" y="869"/>
                </a:lnTo>
                <a:lnTo>
                  <a:pt x="1670" y="921"/>
                </a:lnTo>
                <a:lnTo>
                  <a:pt x="1679" y="975"/>
                </a:lnTo>
                <a:lnTo>
                  <a:pt x="1683" y="1031"/>
                </a:lnTo>
                <a:lnTo>
                  <a:pt x="1679" y="1088"/>
                </a:lnTo>
                <a:lnTo>
                  <a:pt x="1670" y="1142"/>
                </a:lnTo>
                <a:lnTo>
                  <a:pt x="1655" y="1194"/>
                </a:lnTo>
                <a:lnTo>
                  <a:pt x="1634" y="1243"/>
                </a:lnTo>
                <a:lnTo>
                  <a:pt x="1607" y="1289"/>
                </a:lnTo>
                <a:lnTo>
                  <a:pt x="1577" y="1332"/>
                </a:lnTo>
                <a:lnTo>
                  <a:pt x="1541" y="1372"/>
                </a:lnTo>
                <a:lnTo>
                  <a:pt x="1502" y="1408"/>
                </a:lnTo>
                <a:lnTo>
                  <a:pt x="1458" y="1438"/>
                </a:lnTo>
                <a:lnTo>
                  <a:pt x="1413" y="1465"/>
                </a:lnTo>
                <a:lnTo>
                  <a:pt x="1363" y="1485"/>
                </a:lnTo>
                <a:lnTo>
                  <a:pt x="1311" y="1500"/>
                </a:lnTo>
                <a:lnTo>
                  <a:pt x="1257" y="1510"/>
                </a:lnTo>
                <a:lnTo>
                  <a:pt x="1201" y="1513"/>
                </a:lnTo>
                <a:lnTo>
                  <a:pt x="1145" y="1510"/>
                </a:lnTo>
                <a:lnTo>
                  <a:pt x="1091" y="1500"/>
                </a:lnTo>
                <a:lnTo>
                  <a:pt x="1039" y="1485"/>
                </a:lnTo>
                <a:lnTo>
                  <a:pt x="989" y="1465"/>
                </a:lnTo>
                <a:lnTo>
                  <a:pt x="943" y="1438"/>
                </a:lnTo>
                <a:lnTo>
                  <a:pt x="899" y="1408"/>
                </a:lnTo>
                <a:lnTo>
                  <a:pt x="861" y="1372"/>
                </a:lnTo>
                <a:lnTo>
                  <a:pt x="825" y="1332"/>
                </a:lnTo>
                <a:lnTo>
                  <a:pt x="794" y="1289"/>
                </a:lnTo>
                <a:lnTo>
                  <a:pt x="768" y="1243"/>
                </a:lnTo>
                <a:lnTo>
                  <a:pt x="747" y="1194"/>
                </a:lnTo>
                <a:lnTo>
                  <a:pt x="731" y="1142"/>
                </a:lnTo>
                <a:lnTo>
                  <a:pt x="722" y="1088"/>
                </a:lnTo>
                <a:lnTo>
                  <a:pt x="719" y="1031"/>
                </a:lnTo>
                <a:lnTo>
                  <a:pt x="722" y="975"/>
                </a:lnTo>
                <a:lnTo>
                  <a:pt x="731" y="921"/>
                </a:lnTo>
                <a:lnTo>
                  <a:pt x="747" y="869"/>
                </a:lnTo>
                <a:lnTo>
                  <a:pt x="768" y="820"/>
                </a:lnTo>
                <a:lnTo>
                  <a:pt x="794" y="773"/>
                </a:lnTo>
                <a:lnTo>
                  <a:pt x="825" y="730"/>
                </a:lnTo>
                <a:lnTo>
                  <a:pt x="861" y="691"/>
                </a:lnTo>
                <a:lnTo>
                  <a:pt x="899" y="655"/>
                </a:lnTo>
                <a:lnTo>
                  <a:pt x="943" y="624"/>
                </a:lnTo>
                <a:lnTo>
                  <a:pt x="989" y="599"/>
                </a:lnTo>
                <a:lnTo>
                  <a:pt x="1039" y="577"/>
                </a:lnTo>
                <a:lnTo>
                  <a:pt x="1091" y="562"/>
                </a:lnTo>
                <a:lnTo>
                  <a:pt x="1145" y="553"/>
                </a:lnTo>
                <a:lnTo>
                  <a:pt x="1201" y="549"/>
                </a:lnTo>
                <a:close/>
                <a:moveTo>
                  <a:pt x="2483" y="357"/>
                </a:moveTo>
                <a:lnTo>
                  <a:pt x="2483" y="729"/>
                </a:lnTo>
                <a:lnTo>
                  <a:pt x="2480" y="748"/>
                </a:lnTo>
                <a:lnTo>
                  <a:pt x="2473" y="765"/>
                </a:lnTo>
                <a:lnTo>
                  <a:pt x="2460" y="779"/>
                </a:lnTo>
                <a:lnTo>
                  <a:pt x="2084" y="1098"/>
                </a:lnTo>
                <a:lnTo>
                  <a:pt x="2418" y="1098"/>
                </a:lnTo>
                <a:lnTo>
                  <a:pt x="2435" y="1100"/>
                </a:lnTo>
                <a:lnTo>
                  <a:pt x="2450" y="1107"/>
                </a:lnTo>
                <a:lnTo>
                  <a:pt x="2464" y="1117"/>
                </a:lnTo>
                <a:lnTo>
                  <a:pt x="2474" y="1131"/>
                </a:lnTo>
                <a:lnTo>
                  <a:pt x="2481" y="1146"/>
                </a:lnTo>
                <a:lnTo>
                  <a:pt x="2483" y="1163"/>
                </a:lnTo>
                <a:lnTo>
                  <a:pt x="2483" y="1389"/>
                </a:lnTo>
                <a:lnTo>
                  <a:pt x="2486" y="1414"/>
                </a:lnTo>
                <a:lnTo>
                  <a:pt x="2494" y="1436"/>
                </a:lnTo>
                <a:lnTo>
                  <a:pt x="2507" y="1455"/>
                </a:lnTo>
                <a:lnTo>
                  <a:pt x="2523" y="1472"/>
                </a:lnTo>
                <a:lnTo>
                  <a:pt x="2542" y="1484"/>
                </a:lnTo>
                <a:lnTo>
                  <a:pt x="2565" y="1492"/>
                </a:lnTo>
                <a:lnTo>
                  <a:pt x="2589" y="1495"/>
                </a:lnTo>
                <a:lnTo>
                  <a:pt x="3218" y="1495"/>
                </a:lnTo>
                <a:lnTo>
                  <a:pt x="3203" y="1399"/>
                </a:lnTo>
                <a:lnTo>
                  <a:pt x="3183" y="1306"/>
                </a:lnTo>
                <a:lnTo>
                  <a:pt x="3157" y="1215"/>
                </a:lnTo>
                <a:lnTo>
                  <a:pt x="3127" y="1125"/>
                </a:lnTo>
                <a:lnTo>
                  <a:pt x="3090" y="1040"/>
                </a:lnTo>
                <a:lnTo>
                  <a:pt x="3048" y="956"/>
                </a:lnTo>
                <a:lnTo>
                  <a:pt x="3003" y="875"/>
                </a:lnTo>
                <a:lnTo>
                  <a:pt x="2952" y="797"/>
                </a:lnTo>
                <a:lnTo>
                  <a:pt x="2897" y="723"/>
                </a:lnTo>
                <a:lnTo>
                  <a:pt x="2838" y="653"/>
                </a:lnTo>
                <a:lnTo>
                  <a:pt x="2773" y="586"/>
                </a:lnTo>
                <a:lnTo>
                  <a:pt x="2706" y="522"/>
                </a:lnTo>
                <a:lnTo>
                  <a:pt x="2635" y="463"/>
                </a:lnTo>
                <a:lnTo>
                  <a:pt x="2560" y="408"/>
                </a:lnTo>
                <a:lnTo>
                  <a:pt x="2483" y="357"/>
                </a:lnTo>
                <a:close/>
                <a:moveTo>
                  <a:pt x="1679" y="130"/>
                </a:moveTo>
                <a:lnTo>
                  <a:pt x="1583" y="133"/>
                </a:lnTo>
                <a:lnTo>
                  <a:pt x="1486" y="143"/>
                </a:lnTo>
                <a:lnTo>
                  <a:pt x="1392" y="158"/>
                </a:lnTo>
                <a:lnTo>
                  <a:pt x="1300" y="178"/>
                </a:lnTo>
                <a:lnTo>
                  <a:pt x="1209" y="204"/>
                </a:lnTo>
                <a:lnTo>
                  <a:pt x="1121" y="235"/>
                </a:lnTo>
                <a:lnTo>
                  <a:pt x="1036" y="272"/>
                </a:lnTo>
                <a:lnTo>
                  <a:pt x="952" y="313"/>
                </a:lnTo>
                <a:lnTo>
                  <a:pt x="873" y="358"/>
                </a:lnTo>
                <a:lnTo>
                  <a:pt x="795" y="408"/>
                </a:lnTo>
                <a:lnTo>
                  <a:pt x="722" y="463"/>
                </a:lnTo>
                <a:lnTo>
                  <a:pt x="652" y="522"/>
                </a:lnTo>
                <a:lnTo>
                  <a:pt x="586" y="586"/>
                </a:lnTo>
                <a:lnTo>
                  <a:pt x="522" y="652"/>
                </a:lnTo>
                <a:lnTo>
                  <a:pt x="463" y="722"/>
                </a:lnTo>
                <a:lnTo>
                  <a:pt x="408" y="795"/>
                </a:lnTo>
                <a:lnTo>
                  <a:pt x="359" y="873"/>
                </a:lnTo>
                <a:lnTo>
                  <a:pt x="313" y="952"/>
                </a:lnTo>
                <a:lnTo>
                  <a:pt x="272" y="1036"/>
                </a:lnTo>
                <a:lnTo>
                  <a:pt x="235" y="1121"/>
                </a:lnTo>
                <a:lnTo>
                  <a:pt x="204" y="1209"/>
                </a:lnTo>
                <a:lnTo>
                  <a:pt x="178" y="1300"/>
                </a:lnTo>
                <a:lnTo>
                  <a:pt x="158" y="1392"/>
                </a:lnTo>
                <a:lnTo>
                  <a:pt x="143" y="1486"/>
                </a:lnTo>
                <a:lnTo>
                  <a:pt x="133" y="1583"/>
                </a:lnTo>
                <a:lnTo>
                  <a:pt x="130" y="1680"/>
                </a:lnTo>
                <a:lnTo>
                  <a:pt x="133" y="1773"/>
                </a:lnTo>
                <a:lnTo>
                  <a:pt x="142" y="1865"/>
                </a:lnTo>
                <a:lnTo>
                  <a:pt x="155" y="1954"/>
                </a:lnTo>
                <a:lnTo>
                  <a:pt x="174" y="2043"/>
                </a:lnTo>
                <a:lnTo>
                  <a:pt x="198" y="2129"/>
                </a:lnTo>
                <a:lnTo>
                  <a:pt x="226" y="2213"/>
                </a:lnTo>
                <a:lnTo>
                  <a:pt x="259" y="2295"/>
                </a:lnTo>
                <a:lnTo>
                  <a:pt x="296" y="2374"/>
                </a:lnTo>
                <a:lnTo>
                  <a:pt x="338" y="2451"/>
                </a:lnTo>
                <a:lnTo>
                  <a:pt x="384" y="2526"/>
                </a:lnTo>
                <a:lnTo>
                  <a:pt x="414" y="2427"/>
                </a:lnTo>
                <a:lnTo>
                  <a:pt x="447" y="2333"/>
                </a:lnTo>
                <a:lnTo>
                  <a:pt x="484" y="2245"/>
                </a:lnTo>
                <a:lnTo>
                  <a:pt x="521" y="2161"/>
                </a:lnTo>
                <a:lnTo>
                  <a:pt x="563" y="2083"/>
                </a:lnTo>
                <a:lnTo>
                  <a:pt x="606" y="2009"/>
                </a:lnTo>
                <a:lnTo>
                  <a:pt x="652" y="1942"/>
                </a:lnTo>
                <a:lnTo>
                  <a:pt x="700" y="1880"/>
                </a:lnTo>
                <a:lnTo>
                  <a:pt x="749" y="1824"/>
                </a:lnTo>
                <a:lnTo>
                  <a:pt x="801" y="1774"/>
                </a:lnTo>
                <a:lnTo>
                  <a:pt x="853" y="1730"/>
                </a:lnTo>
                <a:lnTo>
                  <a:pt x="908" y="1693"/>
                </a:lnTo>
                <a:lnTo>
                  <a:pt x="965" y="1661"/>
                </a:lnTo>
                <a:lnTo>
                  <a:pt x="1022" y="1637"/>
                </a:lnTo>
                <a:lnTo>
                  <a:pt x="1081" y="1619"/>
                </a:lnTo>
                <a:lnTo>
                  <a:pt x="1140" y="1608"/>
                </a:lnTo>
                <a:lnTo>
                  <a:pt x="1201" y="1605"/>
                </a:lnTo>
                <a:lnTo>
                  <a:pt x="1260" y="1608"/>
                </a:lnTo>
                <a:lnTo>
                  <a:pt x="1318" y="1618"/>
                </a:lnTo>
                <a:lnTo>
                  <a:pt x="1375" y="1635"/>
                </a:lnTo>
                <a:lnTo>
                  <a:pt x="1430" y="1657"/>
                </a:lnTo>
                <a:lnTo>
                  <a:pt x="1485" y="1687"/>
                </a:lnTo>
                <a:lnTo>
                  <a:pt x="1538" y="1721"/>
                </a:lnTo>
                <a:lnTo>
                  <a:pt x="1589" y="1762"/>
                </a:lnTo>
                <a:lnTo>
                  <a:pt x="1639" y="1809"/>
                </a:lnTo>
                <a:lnTo>
                  <a:pt x="1688" y="1861"/>
                </a:lnTo>
                <a:lnTo>
                  <a:pt x="1733" y="1919"/>
                </a:lnTo>
                <a:lnTo>
                  <a:pt x="1778" y="1982"/>
                </a:lnTo>
                <a:lnTo>
                  <a:pt x="1821" y="2050"/>
                </a:lnTo>
                <a:lnTo>
                  <a:pt x="1862" y="2124"/>
                </a:lnTo>
                <a:lnTo>
                  <a:pt x="1899" y="2202"/>
                </a:lnTo>
                <a:lnTo>
                  <a:pt x="1935" y="2285"/>
                </a:lnTo>
                <a:lnTo>
                  <a:pt x="1969" y="2373"/>
                </a:lnTo>
                <a:lnTo>
                  <a:pt x="1999" y="2466"/>
                </a:lnTo>
                <a:lnTo>
                  <a:pt x="2028" y="2563"/>
                </a:lnTo>
                <a:lnTo>
                  <a:pt x="2053" y="2664"/>
                </a:lnTo>
                <a:lnTo>
                  <a:pt x="2877" y="2664"/>
                </a:lnTo>
                <a:lnTo>
                  <a:pt x="2935" y="2589"/>
                </a:lnTo>
                <a:lnTo>
                  <a:pt x="2988" y="2511"/>
                </a:lnTo>
                <a:lnTo>
                  <a:pt x="3037" y="2429"/>
                </a:lnTo>
                <a:lnTo>
                  <a:pt x="3081" y="2345"/>
                </a:lnTo>
                <a:lnTo>
                  <a:pt x="3119" y="2257"/>
                </a:lnTo>
                <a:lnTo>
                  <a:pt x="3152" y="2166"/>
                </a:lnTo>
                <a:lnTo>
                  <a:pt x="3180" y="2074"/>
                </a:lnTo>
                <a:lnTo>
                  <a:pt x="3201" y="1978"/>
                </a:lnTo>
                <a:lnTo>
                  <a:pt x="3217" y="1881"/>
                </a:lnTo>
                <a:lnTo>
                  <a:pt x="3227" y="1781"/>
                </a:lnTo>
                <a:lnTo>
                  <a:pt x="3231" y="1680"/>
                </a:lnTo>
                <a:lnTo>
                  <a:pt x="3229" y="1653"/>
                </a:lnTo>
                <a:lnTo>
                  <a:pt x="3228" y="1625"/>
                </a:lnTo>
                <a:lnTo>
                  <a:pt x="2589" y="1625"/>
                </a:lnTo>
                <a:lnTo>
                  <a:pt x="2550" y="1622"/>
                </a:lnTo>
                <a:lnTo>
                  <a:pt x="2515" y="1614"/>
                </a:lnTo>
                <a:lnTo>
                  <a:pt x="2480" y="1599"/>
                </a:lnTo>
                <a:lnTo>
                  <a:pt x="2449" y="1581"/>
                </a:lnTo>
                <a:lnTo>
                  <a:pt x="2422" y="1556"/>
                </a:lnTo>
                <a:lnTo>
                  <a:pt x="2398" y="1529"/>
                </a:lnTo>
                <a:lnTo>
                  <a:pt x="2378" y="1498"/>
                </a:lnTo>
                <a:lnTo>
                  <a:pt x="2364" y="1464"/>
                </a:lnTo>
                <a:lnTo>
                  <a:pt x="2356" y="1428"/>
                </a:lnTo>
                <a:lnTo>
                  <a:pt x="2352" y="1389"/>
                </a:lnTo>
                <a:lnTo>
                  <a:pt x="2352" y="1229"/>
                </a:lnTo>
                <a:lnTo>
                  <a:pt x="1907" y="1229"/>
                </a:lnTo>
                <a:lnTo>
                  <a:pt x="1890" y="1227"/>
                </a:lnTo>
                <a:lnTo>
                  <a:pt x="1876" y="1221"/>
                </a:lnTo>
                <a:lnTo>
                  <a:pt x="1863" y="1212"/>
                </a:lnTo>
                <a:lnTo>
                  <a:pt x="1853" y="1201"/>
                </a:lnTo>
                <a:lnTo>
                  <a:pt x="1844" y="1187"/>
                </a:lnTo>
                <a:lnTo>
                  <a:pt x="1841" y="1170"/>
                </a:lnTo>
                <a:lnTo>
                  <a:pt x="1841" y="1155"/>
                </a:lnTo>
                <a:lnTo>
                  <a:pt x="1846" y="1140"/>
                </a:lnTo>
                <a:lnTo>
                  <a:pt x="1853" y="1125"/>
                </a:lnTo>
                <a:lnTo>
                  <a:pt x="1864" y="1113"/>
                </a:lnTo>
                <a:lnTo>
                  <a:pt x="2352" y="699"/>
                </a:lnTo>
                <a:lnTo>
                  <a:pt x="2352" y="286"/>
                </a:lnTo>
                <a:lnTo>
                  <a:pt x="2274" y="252"/>
                </a:lnTo>
                <a:lnTo>
                  <a:pt x="2195" y="220"/>
                </a:lnTo>
                <a:lnTo>
                  <a:pt x="2113" y="193"/>
                </a:lnTo>
                <a:lnTo>
                  <a:pt x="2030" y="171"/>
                </a:lnTo>
                <a:lnTo>
                  <a:pt x="1945" y="154"/>
                </a:lnTo>
                <a:lnTo>
                  <a:pt x="1859" y="142"/>
                </a:lnTo>
                <a:lnTo>
                  <a:pt x="1770" y="133"/>
                </a:lnTo>
                <a:lnTo>
                  <a:pt x="1679" y="130"/>
                </a:lnTo>
                <a:close/>
                <a:moveTo>
                  <a:pt x="1679" y="0"/>
                </a:moveTo>
                <a:lnTo>
                  <a:pt x="1782" y="3"/>
                </a:lnTo>
                <a:lnTo>
                  <a:pt x="1882" y="12"/>
                </a:lnTo>
                <a:lnTo>
                  <a:pt x="1981" y="27"/>
                </a:lnTo>
                <a:lnTo>
                  <a:pt x="2077" y="48"/>
                </a:lnTo>
                <a:lnTo>
                  <a:pt x="2171" y="73"/>
                </a:lnTo>
                <a:lnTo>
                  <a:pt x="2263" y="105"/>
                </a:lnTo>
                <a:lnTo>
                  <a:pt x="2353" y="141"/>
                </a:lnTo>
                <a:lnTo>
                  <a:pt x="2440" y="182"/>
                </a:lnTo>
                <a:lnTo>
                  <a:pt x="2444" y="184"/>
                </a:lnTo>
                <a:lnTo>
                  <a:pt x="2448" y="186"/>
                </a:lnTo>
                <a:lnTo>
                  <a:pt x="2532" y="232"/>
                </a:lnTo>
                <a:lnTo>
                  <a:pt x="2612" y="283"/>
                </a:lnTo>
                <a:lnTo>
                  <a:pt x="2689" y="338"/>
                </a:lnTo>
                <a:lnTo>
                  <a:pt x="2763" y="396"/>
                </a:lnTo>
                <a:lnTo>
                  <a:pt x="2833" y="459"/>
                </a:lnTo>
                <a:lnTo>
                  <a:pt x="2900" y="526"/>
                </a:lnTo>
                <a:lnTo>
                  <a:pt x="2963" y="596"/>
                </a:lnTo>
                <a:lnTo>
                  <a:pt x="3021" y="669"/>
                </a:lnTo>
                <a:lnTo>
                  <a:pt x="3076" y="747"/>
                </a:lnTo>
                <a:lnTo>
                  <a:pt x="3127" y="826"/>
                </a:lnTo>
                <a:lnTo>
                  <a:pt x="3173" y="908"/>
                </a:lnTo>
                <a:lnTo>
                  <a:pt x="3214" y="995"/>
                </a:lnTo>
                <a:lnTo>
                  <a:pt x="3251" y="1083"/>
                </a:lnTo>
                <a:lnTo>
                  <a:pt x="3283" y="1173"/>
                </a:lnTo>
                <a:lnTo>
                  <a:pt x="3309" y="1267"/>
                </a:lnTo>
                <a:lnTo>
                  <a:pt x="3330" y="1362"/>
                </a:lnTo>
                <a:lnTo>
                  <a:pt x="3346" y="1458"/>
                </a:lnTo>
                <a:lnTo>
                  <a:pt x="3356" y="1557"/>
                </a:lnTo>
                <a:lnTo>
                  <a:pt x="3356" y="1559"/>
                </a:lnTo>
                <a:lnTo>
                  <a:pt x="3357" y="1560"/>
                </a:lnTo>
                <a:lnTo>
                  <a:pt x="3357" y="1561"/>
                </a:lnTo>
                <a:lnTo>
                  <a:pt x="3356" y="1562"/>
                </a:lnTo>
                <a:lnTo>
                  <a:pt x="3360" y="1621"/>
                </a:lnTo>
                <a:lnTo>
                  <a:pt x="3361" y="1680"/>
                </a:lnTo>
                <a:lnTo>
                  <a:pt x="3358" y="1783"/>
                </a:lnTo>
                <a:lnTo>
                  <a:pt x="3349" y="1885"/>
                </a:lnTo>
                <a:lnTo>
                  <a:pt x="3334" y="1984"/>
                </a:lnTo>
                <a:lnTo>
                  <a:pt x="3312" y="2082"/>
                </a:lnTo>
                <a:lnTo>
                  <a:pt x="3286" y="2178"/>
                </a:lnTo>
                <a:lnTo>
                  <a:pt x="3254" y="2270"/>
                </a:lnTo>
                <a:lnTo>
                  <a:pt x="3217" y="2361"/>
                </a:lnTo>
                <a:lnTo>
                  <a:pt x="3175" y="2448"/>
                </a:lnTo>
                <a:lnTo>
                  <a:pt x="3128" y="2533"/>
                </a:lnTo>
                <a:lnTo>
                  <a:pt x="3076" y="2615"/>
                </a:lnTo>
                <a:lnTo>
                  <a:pt x="3020" y="2694"/>
                </a:lnTo>
                <a:lnTo>
                  <a:pt x="2960" y="2769"/>
                </a:lnTo>
                <a:lnTo>
                  <a:pt x="2956" y="2773"/>
                </a:lnTo>
                <a:lnTo>
                  <a:pt x="2952" y="2777"/>
                </a:lnTo>
                <a:lnTo>
                  <a:pt x="2888" y="2848"/>
                </a:lnTo>
                <a:lnTo>
                  <a:pt x="2821" y="2913"/>
                </a:lnTo>
                <a:lnTo>
                  <a:pt x="2750" y="2975"/>
                </a:lnTo>
                <a:lnTo>
                  <a:pt x="2676" y="3033"/>
                </a:lnTo>
                <a:lnTo>
                  <a:pt x="2598" y="3087"/>
                </a:lnTo>
                <a:lnTo>
                  <a:pt x="2518" y="3137"/>
                </a:lnTo>
                <a:lnTo>
                  <a:pt x="2434" y="3183"/>
                </a:lnTo>
                <a:lnTo>
                  <a:pt x="2348" y="3222"/>
                </a:lnTo>
                <a:lnTo>
                  <a:pt x="2258" y="3258"/>
                </a:lnTo>
                <a:lnTo>
                  <a:pt x="2167" y="3289"/>
                </a:lnTo>
                <a:lnTo>
                  <a:pt x="2074" y="3314"/>
                </a:lnTo>
                <a:lnTo>
                  <a:pt x="1978" y="3335"/>
                </a:lnTo>
                <a:lnTo>
                  <a:pt x="1880" y="3349"/>
                </a:lnTo>
                <a:lnTo>
                  <a:pt x="1781" y="3358"/>
                </a:lnTo>
                <a:lnTo>
                  <a:pt x="1679" y="3361"/>
                </a:lnTo>
                <a:lnTo>
                  <a:pt x="1580" y="3358"/>
                </a:lnTo>
                <a:lnTo>
                  <a:pt x="1481" y="3349"/>
                </a:lnTo>
                <a:lnTo>
                  <a:pt x="1383" y="3335"/>
                </a:lnTo>
                <a:lnTo>
                  <a:pt x="1287" y="3314"/>
                </a:lnTo>
                <a:lnTo>
                  <a:pt x="1194" y="3289"/>
                </a:lnTo>
                <a:lnTo>
                  <a:pt x="1103" y="3258"/>
                </a:lnTo>
                <a:lnTo>
                  <a:pt x="1013" y="3222"/>
                </a:lnTo>
                <a:lnTo>
                  <a:pt x="927" y="3183"/>
                </a:lnTo>
                <a:lnTo>
                  <a:pt x="843" y="3137"/>
                </a:lnTo>
                <a:lnTo>
                  <a:pt x="763" y="3087"/>
                </a:lnTo>
                <a:lnTo>
                  <a:pt x="685" y="3033"/>
                </a:lnTo>
                <a:lnTo>
                  <a:pt x="611" y="2975"/>
                </a:lnTo>
                <a:lnTo>
                  <a:pt x="540" y="2913"/>
                </a:lnTo>
                <a:lnTo>
                  <a:pt x="473" y="2848"/>
                </a:lnTo>
                <a:lnTo>
                  <a:pt x="409" y="2777"/>
                </a:lnTo>
                <a:lnTo>
                  <a:pt x="405" y="2773"/>
                </a:lnTo>
                <a:lnTo>
                  <a:pt x="401" y="2769"/>
                </a:lnTo>
                <a:lnTo>
                  <a:pt x="362" y="2720"/>
                </a:lnTo>
                <a:lnTo>
                  <a:pt x="360" y="2717"/>
                </a:lnTo>
                <a:lnTo>
                  <a:pt x="356" y="2714"/>
                </a:lnTo>
                <a:lnTo>
                  <a:pt x="354" y="2711"/>
                </a:lnTo>
                <a:lnTo>
                  <a:pt x="296" y="2632"/>
                </a:lnTo>
                <a:lnTo>
                  <a:pt x="242" y="2548"/>
                </a:lnTo>
                <a:lnTo>
                  <a:pt x="194" y="2463"/>
                </a:lnTo>
                <a:lnTo>
                  <a:pt x="150" y="2373"/>
                </a:lnTo>
                <a:lnTo>
                  <a:pt x="111" y="2281"/>
                </a:lnTo>
                <a:lnTo>
                  <a:pt x="78" y="2187"/>
                </a:lnTo>
                <a:lnTo>
                  <a:pt x="51" y="2090"/>
                </a:lnTo>
                <a:lnTo>
                  <a:pt x="29" y="1990"/>
                </a:lnTo>
                <a:lnTo>
                  <a:pt x="13" y="1889"/>
                </a:lnTo>
                <a:lnTo>
                  <a:pt x="3" y="1785"/>
                </a:lnTo>
                <a:lnTo>
                  <a:pt x="0" y="1680"/>
                </a:lnTo>
                <a:lnTo>
                  <a:pt x="3" y="1579"/>
                </a:lnTo>
                <a:lnTo>
                  <a:pt x="12" y="1478"/>
                </a:lnTo>
                <a:lnTo>
                  <a:pt x="27" y="1379"/>
                </a:lnTo>
                <a:lnTo>
                  <a:pt x="48" y="1282"/>
                </a:lnTo>
                <a:lnTo>
                  <a:pt x="74" y="1188"/>
                </a:lnTo>
                <a:lnTo>
                  <a:pt x="105" y="1095"/>
                </a:lnTo>
                <a:lnTo>
                  <a:pt x="142" y="1005"/>
                </a:lnTo>
                <a:lnTo>
                  <a:pt x="183" y="918"/>
                </a:lnTo>
                <a:lnTo>
                  <a:pt x="230" y="833"/>
                </a:lnTo>
                <a:lnTo>
                  <a:pt x="281" y="752"/>
                </a:lnTo>
                <a:lnTo>
                  <a:pt x="336" y="673"/>
                </a:lnTo>
                <a:lnTo>
                  <a:pt x="396" y="599"/>
                </a:lnTo>
                <a:lnTo>
                  <a:pt x="459" y="527"/>
                </a:lnTo>
                <a:lnTo>
                  <a:pt x="527" y="459"/>
                </a:lnTo>
                <a:lnTo>
                  <a:pt x="599" y="396"/>
                </a:lnTo>
                <a:lnTo>
                  <a:pt x="673" y="336"/>
                </a:lnTo>
                <a:lnTo>
                  <a:pt x="752" y="281"/>
                </a:lnTo>
                <a:lnTo>
                  <a:pt x="833" y="230"/>
                </a:lnTo>
                <a:lnTo>
                  <a:pt x="918" y="183"/>
                </a:lnTo>
                <a:lnTo>
                  <a:pt x="1005" y="142"/>
                </a:lnTo>
                <a:lnTo>
                  <a:pt x="1095" y="105"/>
                </a:lnTo>
                <a:lnTo>
                  <a:pt x="1188" y="74"/>
                </a:lnTo>
                <a:lnTo>
                  <a:pt x="1282" y="48"/>
                </a:lnTo>
                <a:lnTo>
                  <a:pt x="1379" y="27"/>
                </a:lnTo>
                <a:lnTo>
                  <a:pt x="1478" y="12"/>
                </a:lnTo>
                <a:lnTo>
                  <a:pt x="1579" y="3"/>
                </a:lnTo>
                <a:lnTo>
                  <a:pt x="1679" y="0"/>
                </a:lnTo>
                <a:close/>
              </a:path>
            </a:pathLst>
          </a:custGeom>
          <a:solidFill>
            <a:schemeClr val="tx1">
              <a:lumMod val="50000"/>
            </a:schemeClr>
          </a:solidFill>
          <a:ln w="0">
            <a:solidFill>
              <a:schemeClr val="accent1">
                <a:lumMod val="1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 name="Freeform 254"/>
          <p:cNvSpPr>
            <a:spLocks noChangeAspect="1" noEditPoints="1"/>
          </p:cNvSpPr>
          <p:nvPr/>
        </p:nvSpPr>
        <p:spPr bwMode="auto">
          <a:xfrm>
            <a:off x="3704794" y="4485019"/>
            <a:ext cx="493785" cy="493785"/>
          </a:xfrm>
          <a:custGeom>
            <a:avLst/>
            <a:gdLst>
              <a:gd name="T0" fmla="*/ 1834 w 3361"/>
              <a:gd name="T1" fmla="*/ 1644 h 3361"/>
              <a:gd name="T2" fmla="*/ 1660 w 3361"/>
              <a:gd name="T3" fmla="*/ 1981 h 3361"/>
              <a:gd name="T4" fmla="*/ 1422 w 3361"/>
              <a:gd name="T5" fmla="*/ 2171 h 3361"/>
              <a:gd name="T6" fmla="*/ 1183 w 3361"/>
              <a:gd name="T7" fmla="*/ 2085 h 3361"/>
              <a:gd name="T8" fmla="*/ 1030 w 3361"/>
              <a:gd name="T9" fmla="*/ 1945 h 3361"/>
              <a:gd name="T10" fmla="*/ 871 w 3361"/>
              <a:gd name="T11" fmla="*/ 2070 h 3361"/>
              <a:gd name="T12" fmla="*/ 2586 w 3361"/>
              <a:gd name="T13" fmla="*/ 2379 h 3361"/>
              <a:gd name="T14" fmla="*/ 2437 w 3361"/>
              <a:gd name="T15" fmla="*/ 1958 h 3361"/>
              <a:gd name="T16" fmla="*/ 2266 w 3361"/>
              <a:gd name="T17" fmla="*/ 1631 h 3361"/>
              <a:gd name="T18" fmla="*/ 2040 w 3361"/>
              <a:gd name="T19" fmla="*/ 1493 h 3361"/>
              <a:gd name="T20" fmla="*/ 1133 w 3361"/>
              <a:gd name="T21" fmla="*/ 1385 h 3361"/>
              <a:gd name="T22" fmla="*/ 1262 w 3361"/>
              <a:gd name="T23" fmla="*/ 1572 h 3361"/>
              <a:gd name="T24" fmla="*/ 1448 w 3361"/>
              <a:gd name="T25" fmla="*/ 1443 h 3361"/>
              <a:gd name="T26" fmla="*/ 1320 w 3361"/>
              <a:gd name="T27" fmla="*/ 1256 h 3361"/>
              <a:gd name="T28" fmla="*/ 1535 w 3361"/>
              <a:gd name="T29" fmla="*/ 1256 h 3361"/>
              <a:gd name="T30" fmla="*/ 1510 w 3361"/>
              <a:gd name="T31" fmla="*/ 1605 h 3361"/>
              <a:gd name="T32" fmla="*/ 1168 w 3361"/>
              <a:gd name="T33" fmla="*/ 1678 h 3361"/>
              <a:gd name="T34" fmla="*/ 1002 w 3361"/>
              <a:gd name="T35" fmla="*/ 1371 h 3361"/>
              <a:gd name="T36" fmla="*/ 1248 w 3361"/>
              <a:gd name="T37" fmla="*/ 1126 h 3361"/>
              <a:gd name="T38" fmla="*/ 648 w 3361"/>
              <a:gd name="T39" fmla="*/ 1104 h 3361"/>
              <a:gd name="T40" fmla="*/ 777 w 3361"/>
              <a:gd name="T41" fmla="*/ 1972 h 3361"/>
              <a:gd name="T42" fmla="*/ 1042 w 3361"/>
              <a:gd name="T43" fmla="*/ 1815 h 3361"/>
              <a:gd name="T44" fmla="*/ 1234 w 3361"/>
              <a:gd name="T45" fmla="*/ 1945 h 3361"/>
              <a:gd name="T46" fmla="*/ 1437 w 3361"/>
              <a:gd name="T47" fmla="*/ 2032 h 3361"/>
              <a:gd name="T48" fmla="*/ 1630 w 3361"/>
              <a:gd name="T49" fmla="*/ 1757 h 3361"/>
              <a:gd name="T50" fmla="*/ 1808 w 3361"/>
              <a:gd name="T51" fmla="*/ 1463 h 3361"/>
              <a:gd name="T52" fmla="*/ 2122 w 3361"/>
              <a:gd name="T53" fmla="*/ 1370 h 3361"/>
              <a:gd name="T54" fmla="*/ 2363 w 3361"/>
              <a:gd name="T55" fmla="*/ 1540 h 3361"/>
              <a:gd name="T56" fmla="*/ 2509 w 3361"/>
              <a:gd name="T57" fmla="*/ 1806 h 3361"/>
              <a:gd name="T58" fmla="*/ 2736 w 3361"/>
              <a:gd name="T59" fmla="*/ 2250 h 3361"/>
              <a:gd name="T60" fmla="*/ 2617 w 3361"/>
              <a:gd name="T61" fmla="*/ 985 h 3361"/>
              <a:gd name="T62" fmla="*/ 2771 w 3361"/>
              <a:gd name="T63" fmla="*/ 921 h 3361"/>
              <a:gd name="T64" fmla="*/ 2860 w 3361"/>
              <a:gd name="T65" fmla="*/ 2299 h 3361"/>
              <a:gd name="T66" fmla="*/ 2699 w 3361"/>
              <a:gd name="T67" fmla="*/ 2485 h 3361"/>
              <a:gd name="T68" fmla="*/ 621 w 3361"/>
              <a:gd name="T69" fmla="*/ 2447 h 3361"/>
              <a:gd name="T70" fmla="*/ 513 w 3361"/>
              <a:gd name="T71" fmla="*/ 2226 h 3361"/>
              <a:gd name="T72" fmla="*/ 677 w 3361"/>
              <a:gd name="T73" fmla="*/ 877 h 3361"/>
              <a:gd name="T74" fmla="*/ 1209 w 3361"/>
              <a:gd name="T75" fmla="*/ 204 h 3361"/>
              <a:gd name="T76" fmla="*/ 522 w 3361"/>
              <a:gd name="T77" fmla="*/ 652 h 3361"/>
              <a:gd name="T78" fmla="*/ 158 w 3361"/>
              <a:gd name="T79" fmla="*/ 1392 h 3361"/>
              <a:gd name="T80" fmla="*/ 235 w 3361"/>
              <a:gd name="T81" fmla="*/ 2240 h 3361"/>
              <a:gd name="T82" fmla="*/ 722 w 3361"/>
              <a:gd name="T83" fmla="*/ 2898 h 3361"/>
              <a:gd name="T84" fmla="*/ 1486 w 3361"/>
              <a:gd name="T85" fmla="*/ 3218 h 3361"/>
              <a:gd name="T86" fmla="*/ 2325 w 3361"/>
              <a:gd name="T87" fmla="*/ 3089 h 3361"/>
              <a:gd name="T88" fmla="*/ 2953 w 3361"/>
              <a:gd name="T89" fmla="*/ 2566 h 3361"/>
              <a:gd name="T90" fmla="*/ 3228 w 3361"/>
              <a:gd name="T91" fmla="*/ 1778 h 3361"/>
              <a:gd name="T92" fmla="*/ 3048 w 3361"/>
              <a:gd name="T93" fmla="*/ 952 h 3361"/>
              <a:gd name="T94" fmla="*/ 2488 w 3361"/>
              <a:gd name="T95" fmla="*/ 358 h 3361"/>
              <a:gd name="T96" fmla="*/ 1679 w 3361"/>
              <a:gd name="T97" fmla="*/ 130 h 3361"/>
              <a:gd name="T98" fmla="*/ 2443 w 3361"/>
              <a:gd name="T99" fmla="*/ 183 h 3361"/>
              <a:gd name="T100" fmla="*/ 3080 w 3361"/>
              <a:gd name="T101" fmla="*/ 752 h 3361"/>
              <a:gd name="T102" fmla="*/ 3358 w 3361"/>
              <a:gd name="T103" fmla="*/ 1579 h 3361"/>
              <a:gd name="T104" fmla="*/ 3178 w 3361"/>
              <a:gd name="T105" fmla="*/ 2443 h 3361"/>
              <a:gd name="T106" fmla="*/ 2609 w 3361"/>
              <a:gd name="T107" fmla="*/ 3080 h 3361"/>
              <a:gd name="T108" fmla="*/ 1782 w 3361"/>
              <a:gd name="T109" fmla="*/ 3358 h 3361"/>
              <a:gd name="T110" fmla="*/ 918 w 3361"/>
              <a:gd name="T111" fmla="*/ 3178 h 3361"/>
              <a:gd name="T112" fmla="*/ 281 w 3361"/>
              <a:gd name="T113" fmla="*/ 2609 h 3361"/>
              <a:gd name="T114" fmla="*/ 3 w 3361"/>
              <a:gd name="T115" fmla="*/ 1782 h 3361"/>
              <a:gd name="T116" fmla="*/ 183 w 3361"/>
              <a:gd name="T117" fmla="*/ 918 h 3361"/>
              <a:gd name="T118" fmla="*/ 752 w 3361"/>
              <a:gd name="T119" fmla="*/ 281 h 3361"/>
              <a:gd name="T120" fmla="*/ 1579 w 3361"/>
              <a:gd name="T121" fmla="*/ 3 h 3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61" h="3361">
                <a:moveTo>
                  <a:pt x="2040" y="1493"/>
                </a:moveTo>
                <a:lnTo>
                  <a:pt x="2008" y="1495"/>
                </a:lnTo>
                <a:lnTo>
                  <a:pt x="1979" y="1503"/>
                </a:lnTo>
                <a:lnTo>
                  <a:pt x="1951" y="1515"/>
                </a:lnTo>
                <a:lnTo>
                  <a:pt x="1926" y="1533"/>
                </a:lnTo>
                <a:lnTo>
                  <a:pt x="1902" y="1554"/>
                </a:lnTo>
                <a:lnTo>
                  <a:pt x="1878" y="1580"/>
                </a:lnTo>
                <a:lnTo>
                  <a:pt x="1856" y="1610"/>
                </a:lnTo>
                <a:lnTo>
                  <a:pt x="1834" y="1644"/>
                </a:lnTo>
                <a:lnTo>
                  <a:pt x="1813" y="1680"/>
                </a:lnTo>
                <a:lnTo>
                  <a:pt x="1792" y="1721"/>
                </a:lnTo>
                <a:lnTo>
                  <a:pt x="1770" y="1765"/>
                </a:lnTo>
                <a:lnTo>
                  <a:pt x="1748" y="1812"/>
                </a:lnTo>
                <a:lnTo>
                  <a:pt x="1731" y="1847"/>
                </a:lnTo>
                <a:lnTo>
                  <a:pt x="1715" y="1881"/>
                </a:lnTo>
                <a:lnTo>
                  <a:pt x="1698" y="1915"/>
                </a:lnTo>
                <a:lnTo>
                  <a:pt x="1679" y="1948"/>
                </a:lnTo>
                <a:lnTo>
                  <a:pt x="1660" y="1981"/>
                </a:lnTo>
                <a:lnTo>
                  <a:pt x="1641" y="2013"/>
                </a:lnTo>
                <a:lnTo>
                  <a:pt x="1619" y="2043"/>
                </a:lnTo>
                <a:lnTo>
                  <a:pt x="1597" y="2071"/>
                </a:lnTo>
                <a:lnTo>
                  <a:pt x="1573" y="2095"/>
                </a:lnTo>
                <a:lnTo>
                  <a:pt x="1546" y="2117"/>
                </a:lnTo>
                <a:lnTo>
                  <a:pt x="1519" y="2137"/>
                </a:lnTo>
                <a:lnTo>
                  <a:pt x="1489" y="2153"/>
                </a:lnTo>
                <a:lnTo>
                  <a:pt x="1456" y="2164"/>
                </a:lnTo>
                <a:lnTo>
                  <a:pt x="1422" y="2171"/>
                </a:lnTo>
                <a:lnTo>
                  <a:pt x="1385" y="2173"/>
                </a:lnTo>
                <a:lnTo>
                  <a:pt x="1352" y="2172"/>
                </a:lnTo>
                <a:lnTo>
                  <a:pt x="1321" y="2166"/>
                </a:lnTo>
                <a:lnTo>
                  <a:pt x="1293" y="2158"/>
                </a:lnTo>
                <a:lnTo>
                  <a:pt x="1267" y="2147"/>
                </a:lnTo>
                <a:lnTo>
                  <a:pt x="1244" y="2134"/>
                </a:lnTo>
                <a:lnTo>
                  <a:pt x="1222" y="2118"/>
                </a:lnTo>
                <a:lnTo>
                  <a:pt x="1202" y="2102"/>
                </a:lnTo>
                <a:lnTo>
                  <a:pt x="1183" y="2085"/>
                </a:lnTo>
                <a:lnTo>
                  <a:pt x="1167" y="2066"/>
                </a:lnTo>
                <a:lnTo>
                  <a:pt x="1151" y="2048"/>
                </a:lnTo>
                <a:lnTo>
                  <a:pt x="1136" y="2031"/>
                </a:lnTo>
                <a:lnTo>
                  <a:pt x="1116" y="2008"/>
                </a:lnTo>
                <a:lnTo>
                  <a:pt x="1098" y="1989"/>
                </a:lnTo>
                <a:lnTo>
                  <a:pt x="1082" y="1973"/>
                </a:lnTo>
                <a:lnTo>
                  <a:pt x="1064" y="1961"/>
                </a:lnTo>
                <a:lnTo>
                  <a:pt x="1048" y="1951"/>
                </a:lnTo>
                <a:lnTo>
                  <a:pt x="1030" y="1945"/>
                </a:lnTo>
                <a:lnTo>
                  <a:pt x="1010" y="1943"/>
                </a:lnTo>
                <a:lnTo>
                  <a:pt x="993" y="1945"/>
                </a:lnTo>
                <a:lnTo>
                  <a:pt x="977" y="1950"/>
                </a:lnTo>
                <a:lnTo>
                  <a:pt x="959" y="1960"/>
                </a:lnTo>
                <a:lnTo>
                  <a:pt x="943" y="1973"/>
                </a:lnTo>
                <a:lnTo>
                  <a:pt x="926" y="1990"/>
                </a:lnTo>
                <a:lnTo>
                  <a:pt x="908" y="2013"/>
                </a:lnTo>
                <a:lnTo>
                  <a:pt x="890" y="2039"/>
                </a:lnTo>
                <a:lnTo>
                  <a:pt x="871" y="2070"/>
                </a:lnTo>
                <a:lnTo>
                  <a:pt x="851" y="2106"/>
                </a:lnTo>
                <a:lnTo>
                  <a:pt x="831" y="2147"/>
                </a:lnTo>
                <a:lnTo>
                  <a:pt x="810" y="2194"/>
                </a:lnTo>
                <a:lnTo>
                  <a:pt x="787" y="2246"/>
                </a:lnTo>
                <a:lnTo>
                  <a:pt x="764" y="2304"/>
                </a:lnTo>
                <a:lnTo>
                  <a:pt x="738" y="2367"/>
                </a:lnTo>
                <a:lnTo>
                  <a:pt x="767" y="2376"/>
                </a:lnTo>
                <a:lnTo>
                  <a:pt x="797" y="2379"/>
                </a:lnTo>
                <a:lnTo>
                  <a:pt x="2586" y="2379"/>
                </a:lnTo>
                <a:lnTo>
                  <a:pt x="2609" y="2377"/>
                </a:lnTo>
                <a:lnTo>
                  <a:pt x="2632" y="2371"/>
                </a:lnTo>
                <a:lnTo>
                  <a:pt x="2602" y="2308"/>
                </a:lnTo>
                <a:lnTo>
                  <a:pt x="2574" y="2246"/>
                </a:lnTo>
                <a:lnTo>
                  <a:pt x="2545" y="2185"/>
                </a:lnTo>
                <a:lnTo>
                  <a:pt x="2517" y="2125"/>
                </a:lnTo>
                <a:lnTo>
                  <a:pt x="2489" y="2066"/>
                </a:lnTo>
                <a:lnTo>
                  <a:pt x="2463" y="2010"/>
                </a:lnTo>
                <a:lnTo>
                  <a:pt x="2437" y="1958"/>
                </a:lnTo>
                <a:lnTo>
                  <a:pt x="2413" y="1908"/>
                </a:lnTo>
                <a:lnTo>
                  <a:pt x="2390" y="1861"/>
                </a:lnTo>
                <a:lnTo>
                  <a:pt x="2369" y="1818"/>
                </a:lnTo>
                <a:lnTo>
                  <a:pt x="2349" y="1779"/>
                </a:lnTo>
                <a:lnTo>
                  <a:pt x="2331" y="1745"/>
                </a:lnTo>
                <a:lnTo>
                  <a:pt x="2316" y="1715"/>
                </a:lnTo>
                <a:lnTo>
                  <a:pt x="2300" y="1687"/>
                </a:lnTo>
                <a:lnTo>
                  <a:pt x="2283" y="1658"/>
                </a:lnTo>
                <a:lnTo>
                  <a:pt x="2266" y="1631"/>
                </a:lnTo>
                <a:lnTo>
                  <a:pt x="2248" y="1605"/>
                </a:lnTo>
                <a:lnTo>
                  <a:pt x="2228" y="1582"/>
                </a:lnTo>
                <a:lnTo>
                  <a:pt x="2208" y="1560"/>
                </a:lnTo>
                <a:lnTo>
                  <a:pt x="2186" y="1541"/>
                </a:lnTo>
                <a:lnTo>
                  <a:pt x="2161" y="1525"/>
                </a:lnTo>
                <a:lnTo>
                  <a:pt x="2135" y="1510"/>
                </a:lnTo>
                <a:lnTo>
                  <a:pt x="2105" y="1501"/>
                </a:lnTo>
                <a:lnTo>
                  <a:pt x="2074" y="1495"/>
                </a:lnTo>
                <a:lnTo>
                  <a:pt x="2040" y="1493"/>
                </a:lnTo>
                <a:close/>
                <a:moveTo>
                  <a:pt x="1290" y="1254"/>
                </a:moveTo>
                <a:lnTo>
                  <a:pt x="1262" y="1256"/>
                </a:lnTo>
                <a:lnTo>
                  <a:pt x="1234" y="1264"/>
                </a:lnTo>
                <a:lnTo>
                  <a:pt x="1210" y="1275"/>
                </a:lnTo>
                <a:lnTo>
                  <a:pt x="1188" y="1291"/>
                </a:lnTo>
                <a:lnTo>
                  <a:pt x="1168" y="1311"/>
                </a:lnTo>
                <a:lnTo>
                  <a:pt x="1152" y="1333"/>
                </a:lnTo>
                <a:lnTo>
                  <a:pt x="1141" y="1359"/>
                </a:lnTo>
                <a:lnTo>
                  <a:pt x="1133" y="1385"/>
                </a:lnTo>
                <a:lnTo>
                  <a:pt x="1131" y="1414"/>
                </a:lnTo>
                <a:lnTo>
                  <a:pt x="1133" y="1443"/>
                </a:lnTo>
                <a:lnTo>
                  <a:pt x="1141" y="1470"/>
                </a:lnTo>
                <a:lnTo>
                  <a:pt x="1152" y="1495"/>
                </a:lnTo>
                <a:lnTo>
                  <a:pt x="1168" y="1518"/>
                </a:lnTo>
                <a:lnTo>
                  <a:pt x="1188" y="1537"/>
                </a:lnTo>
                <a:lnTo>
                  <a:pt x="1210" y="1552"/>
                </a:lnTo>
                <a:lnTo>
                  <a:pt x="1234" y="1564"/>
                </a:lnTo>
                <a:lnTo>
                  <a:pt x="1262" y="1572"/>
                </a:lnTo>
                <a:lnTo>
                  <a:pt x="1290" y="1575"/>
                </a:lnTo>
                <a:lnTo>
                  <a:pt x="1320" y="1572"/>
                </a:lnTo>
                <a:lnTo>
                  <a:pt x="1346" y="1564"/>
                </a:lnTo>
                <a:lnTo>
                  <a:pt x="1372" y="1552"/>
                </a:lnTo>
                <a:lnTo>
                  <a:pt x="1394" y="1537"/>
                </a:lnTo>
                <a:lnTo>
                  <a:pt x="1414" y="1518"/>
                </a:lnTo>
                <a:lnTo>
                  <a:pt x="1429" y="1495"/>
                </a:lnTo>
                <a:lnTo>
                  <a:pt x="1441" y="1470"/>
                </a:lnTo>
                <a:lnTo>
                  <a:pt x="1448" y="1443"/>
                </a:lnTo>
                <a:lnTo>
                  <a:pt x="1451" y="1414"/>
                </a:lnTo>
                <a:lnTo>
                  <a:pt x="1448" y="1385"/>
                </a:lnTo>
                <a:lnTo>
                  <a:pt x="1441" y="1359"/>
                </a:lnTo>
                <a:lnTo>
                  <a:pt x="1429" y="1333"/>
                </a:lnTo>
                <a:lnTo>
                  <a:pt x="1414" y="1311"/>
                </a:lnTo>
                <a:lnTo>
                  <a:pt x="1394" y="1291"/>
                </a:lnTo>
                <a:lnTo>
                  <a:pt x="1372" y="1275"/>
                </a:lnTo>
                <a:lnTo>
                  <a:pt x="1346" y="1264"/>
                </a:lnTo>
                <a:lnTo>
                  <a:pt x="1320" y="1256"/>
                </a:lnTo>
                <a:lnTo>
                  <a:pt x="1290" y="1254"/>
                </a:lnTo>
                <a:close/>
                <a:moveTo>
                  <a:pt x="1290" y="1122"/>
                </a:moveTo>
                <a:lnTo>
                  <a:pt x="1333" y="1126"/>
                </a:lnTo>
                <a:lnTo>
                  <a:pt x="1375" y="1136"/>
                </a:lnTo>
                <a:lnTo>
                  <a:pt x="1414" y="1150"/>
                </a:lnTo>
                <a:lnTo>
                  <a:pt x="1449" y="1170"/>
                </a:lnTo>
                <a:lnTo>
                  <a:pt x="1482" y="1195"/>
                </a:lnTo>
                <a:lnTo>
                  <a:pt x="1510" y="1223"/>
                </a:lnTo>
                <a:lnTo>
                  <a:pt x="1535" y="1256"/>
                </a:lnTo>
                <a:lnTo>
                  <a:pt x="1555" y="1291"/>
                </a:lnTo>
                <a:lnTo>
                  <a:pt x="1569" y="1330"/>
                </a:lnTo>
                <a:lnTo>
                  <a:pt x="1579" y="1371"/>
                </a:lnTo>
                <a:lnTo>
                  <a:pt x="1582" y="1414"/>
                </a:lnTo>
                <a:lnTo>
                  <a:pt x="1579" y="1457"/>
                </a:lnTo>
                <a:lnTo>
                  <a:pt x="1569" y="1498"/>
                </a:lnTo>
                <a:lnTo>
                  <a:pt x="1555" y="1537"/>
                </a:lnTo>
                <a:lnTo>
                  <a:pt x="1535" y="1573"/>
                </a:lnTo>
                <a:lnTo>
                  <a:pt x="1510" y="1605"/>
                </a:lnTo>
                <a:lnTo>
                  <a:pt x="1482" y="1634"/>
                </a:lnTo>
                <a:lnTo>
                  <a:pt x="1449" y="1658"/>
                </a:lnTo>
                <a:lnTo>
                  <a:pt x="1414" y="1678"/>
                </a:lnTo>
                <a:lnTo>
                  <a:pt x="1375" y="1693"/>
                </a:lnTo>
                <a:lnTo>
                  <a:pt x="1333" y="1702"/>
                </a:lnTo>
                <a:lnTo>
                  <a:pt x="1290" y="1705"/>
                </a:lnTo>
                <a:lnTo>
                  <a:pt x="1248" y="1702"/>
                </a:lnTo>
                <a:lnTo>
                  <a:pt x="1207" y="1693"/>
                </a:lnTo>
                <a:lnTo>
                  <a:pt x="1168" y="1678"/>
                </a:lnTo>
                <a:lnTo>
                  <a:pt x="1133" y="1658"/>
                </a:lnTo>
                <a:lnTo>
                  <a:pt x="1100" y="1634"/>
                </a:lnTo>
                <a:lnTo>
                  <a:pt x="1071" y="1605"/>
                </a:lnTo>
                <a:lnTo>
                  <a:pt x="1046" y="1573"/>
                </a:lnTo>
                <a:lnTo>
                  <a:pt x="1027" y="1537"/>
                </a:lnTo>
                <a:lnTo>
                  <a:pt x="1011" y="1498"/>
                </a:lnTo>
                <a:lnTo>
                  <a:pt x="1002" y="1457"/>
                </a:lnTo>
                <a:lnTo>
                  <a:pt x="999" y="1414"/>
                </a:lnTo>
                <a:lnTo>
                  <a:pt x="1002" y="1371"/>
                </a:lnTo>
                <a:lnTo>
                  <a:pt x="1011" y="1330"/>
                </a:lnTo>
                <a:lnTo>
                  <a:pt x="1027" y="1291"/>
                </a:lnTo>
                <a:lnTo>
                  <a:pt x="1046" y="1256"/>
                </a:lnTo>
                <a:lnTo>
                  <a:pt x="1071" y="1223"/>
                </a:lnTo>
                <a:lnTo>
                  <a:pt x="1100" y="1195"/>
                </a:lnTo>
                <a:lnTo>
                  <a:pt x="1133" y="1170"/>
                </a:lnTo>
                <a:lnTo>
                  <a:pt x="1168" y="1150"/>
                </a:lnTo>
                <a:lnTo>
                  <a:pt x="1207" y="1136"/>
                </a:lnTo>
                <a:lnTo>
                  <a:pt x="1248" y="1126"/>
                </a:lnTo>
                <a:lnTo>
                  <a:pt x="1290" y="1122"/>
                </a:lnTo>
                <a:close/>
                <a:moveTo>
                  <a:pt x="797" y="982"/>
                </a:moveTo>
                <a:lnTo>
                  <a:pt x="766" y="985"/>
                </a:lnTo>
                <a:lnTo>
                  <a:pt x="737" y="994"/>
                </a:lnTo>
                <a:lnTo>
                  <a:pt x="712" y="1008"/>
                </a:lnTo>
                <a:lnTo>
                  <a:pt x="690" y="1027"/>
                </a:lnTo>
                <a:lnTo>
                  <a:pt x="670" y="1049"/>
                </a:lnTo>
                <a:lnTo>
                  <a:pt x="657" y="1076"/>
                </a:lnTo>
                <a:lnTo>
                  <a:pt x="648" y="1104"/>
                </a:lnTo>
                <a:lnTo>
                  <a:pt x="645" y="1135"/>
                </a:lnTo>
                <a:lnTo>
                  <a:pt x="645" y="2226"/>
                </a:lnTo>
                <a:lnTo>
                  <a:pt x="645" y="2236"/>
                </a:lnTo>
                <a:lnTo>
                  <a:pt x="647" y="2245"/>
                </a:lnTo>
                <a:lnTo>
                  <a:pt x="673" y="2179"/>
                </a:lnTo>
                <a:lnTo>
                  <a:pt x="700" y="2118"/>
                </a:lnTo>
                <a:lnTo>
                  <a:pt x="726" y="2064"/>
                </a:lnTo>
                <a:lnTo>
                  <a:pt x="752" y="2016"/>
                </a:lnTo>
                <a:lnTo>
                  <a:pt x="777" y="1972"/>
                </a:lnTo>
                <a:lnTo>
                  <a:pt x="803" y="1934"/>
                </a:lnTo>
                <a:lnTo>
                  <a:pt x="829" y="1902"/>
                </a:lnTo>
                <a:lnTo>
                  <a:pt x="856" y="1874"/>
                </a:lnTo>
                <a:lnTo>
                  <a:pt x="884" y="1852"/>
                </a:lnTo>
                <a:lnTo>
                  <a:pt x="913" y="1834"/>
                </a:lnTo>
                <a:lnTo>
                  <a:pt x="943" y="1822"/>
                </a:lnTo>
                <a:lnTo>
                  <a:pt x="976" y="1815"/>
                </a:lnTo>
                <a:lnTo>
                  <a:pt x="1010" y="1813"/>
                </a:lnTo>
                <a:lnTo>
                  <a:pt x="1042" y="1815"/>
                </a:lnTo>
                <a:lnTo>
                  <a:pt x="1071" y="1821"/>
                </a:lnTo>
                <a:lnTo>
                  <a:pt x="1098" y="1830"/>
                </a:lnTo>
                <a:lnTo>
                  <a:pt x="1122" y="1842"/>
                </a:lnTo>
                <a:lnTo>
                  <a:pt x="1145" y="1857"/>
                </a:lnTo>
                <a:lnTo>
                  <a:pt x="1166" y="1873"/>
                </a:lnTo>
                <a:lnTo>
                  <a:pt x="1186" y="1890"/>
                </a:lnTo>
                <a:lnTo>
                  <a:pt x="1203" y="1909"/>
                </a:lnTo>
                <a:lnTo>
                  <a:pt x="1219" y="1928"/>
                </a:lnTo>
                <a:lnTo>
                  <a:pt x="1234" y="1945"/>
                </a:lnTo>
                <a:lnTo>
                  <a:pt x="1256" y="1970"/>
                </a:lnTo>
                <a:lnTo>
                  <a:pt x="1276" y="1991"/>
                </a:lnTo>
                <a:lnTo>
                  <a:pt x="1296" y="2009"/>
                </a:lnTo>
                <a:lnTo>
                  <a:pt x="1315" y="2024"/>
                </a:lnTo>
                <a:lnTo>
                  <a:pt x="1336" y="2034"/>
                </a:lnTo>
                <a:lnTo>
                  <a:pt x="1360" y="2041"/>
                </a:lnTo>
                <a:lnTo>
                  <a:pt x="1385" y="2043"/>
                </a:lnTo>
                <a:lnTo>
                  <a:pt x="1412" y="2040"/>
                </a:lnTo>
                <a:lnTo>
                  <a:pt x="1437" y="2032"/>
                </a:lnTo>
                <a:lnTo>
                  <a:pt x="1461" y="2019"/>
                </a:lnTo>
                <a:lnTo>
                  <a:pt x="1483" y="2000"/>
                </a:lnTo>
                <a:lnTo>
                  <a:pt x="1504" y="1978"/>
                </a:lnTo>
                <a:lnTo>
                  <a:pt x="1525" y="1950"/>
                </a:lnTo>
                <a:lnTo>
                  <a:pt x="1545" y="1919"/>
                </a:lnTo>
                <a:lnTo>
                  <a:pt x="1565" y="1884"/>
                </a:lnTo>
                <a:lnTo>
                  <a:pt x="1586" y="1844"/>
                </a:lnTo>
                <a:lnTo>
                  <a:pt x="1607" y="1803"/>
                </a:lnTo>
                <a:lnTo>
                  <a:pt x="1630" y="1757"/>
                </a:lnTo>
                <a:lnTo>
                  <a:pt x="1646" y="1721"/>
                </a:lnTo>
                <a:lnTo>
                  <a:pt x="1662" y="1687"/>
                </a:lnTo>
                <a:lnTo>
                  <a:pt x="1679" y="1651"/>
                </a:lnTo>
                <a:lnTo>
                  <a:pt x="1699" y="1616"/>
                </a:lnTo>
                <a:lnTo>
                  <a:pt x="1718" y="1583"/>
                </a:lnTo>
                <a:lnTo>
                  <a:pt x="1739" y="1550"/>
                </a:lnTo>
                <a:lnTo>
                  <a:pt x="1760" y="1520"/>
                </a:lnTo>
                <a:lnTo>
                  <a:pt x="1783" y="1490"/>
                </a:lnTo>
                <a:lnTo>
                  <a:pt x="1808" y="1463"/>
                </a:lnTo>
                <a:lnTo>
                  <a:pt x="1834" y="1438"/>
                </a:lnTo>
                <a:lnTo>
                  <a:pt x="1863" y="1416"/>
                </a:lnTo>
                <a:lnTo>
                  <a:pt x="1893" y="1397"/>
                </a:lnTo>
                <a:lnTo>
                  <a:pt x="1926" y="1382"/>
                </a:lnTo>
                <a:lnTo>
                  <a:pt x="1962" y="1371"/>
                </a:lnTo>
                <a:lnTo>
                  <a:pt x="1999" y="1364"/>
                </a:lnTo>
                <a:lnTo>
                  <a:pt x="2040" y="1362"/>
                </a:lnTo>
                <a:lnTo>
                  <a:pt x="2082" y="1364"/>
                </a:lnTo>
                <a:lnTo>
                  <a:pt x="2122" y="1370"/>
                </a:lnTo>
                <a:lnTo>
                  <a:pt x="2158" y="1380"/>
                </a:lnTo>
                <a:lnTo>
                  <a:pt x="2192" y="1393"/>
                </a:lnTo>
                <a:lnTo>
                  <a:pt x="2223" y="1409"/>
                </a:lnTo>
                <a:lnTo>
                  <a:pt x="2252" y="1427"/>
                </a:lnTo>
                <a:lnTo>
                  <a:pt x="2278" y="1447"/>
                </a:lnTo>
                <a:lnTo>
                  <a:pt x="2303" y="1470"/>
                </a:lnTo>
                <a:lnTo>
                  <a:pt x="2324" y="1492"/>
                </a:lnTo>
                <a:lnTo>
                  <a:pt x="2345" y="1517"/>
                </a:lnTo>
                <a:lnTo>
                  <a:pt x="2363" y="1540"/>
                </a:lnTo>
                <a:lnTo>
                  <a:pt x="2379" y="1564"/>
                </a:lnTo>
                <a:lnTo>
                  <a:pt x="2394" y="1589"/>
                </a:lnTo>
                <a:lnTo>
                  <a:pt x="2408" y="1611"/>
                </a:lnTo>
                <a:lnTo>
                  <a:pt x="2420" y="1633"/>
                </a:lnTo>
                <a:lnTo>
                  <a:pt x="2431" y="1653"/>
                </a:lnTo>
                <a:lnTo>
                  <a:pt x="2447" y="1684"/>
                </a:lnTo>
                <a:lnTo>
                  <a:pt x="2466" y="1720"/>
                </a:lnTo>
                <a:lnTo>
                  <a:pt x="2486" y="1761"/>
                </a:lnTo>
                <a:lnTo>
                  <a:pt x="2509" y="1806"/>
                </a:lnTo>
                <a:lnTo>
                  <a:pt x="2533" y="1855"/>
                </a:lnTo>
                <a:lnTo>
                  <a:pt x="2558" y="1908"/>
                </a:lnTo>
                <a:lnTo>
                  <a:pt x="2585" y="1963"/>
                </a:lnTo>
                <a:lnTo>
                  <a:pt x="2612" y="2021"/>
                </a:lnTo>
                <a:lnTo>
                  <a:pt x="2641" y="2082"/>
                </a:lnTo>
                <a:lnTo>
                  <a:pt x="2670" y="2144"/>
                </a:lnTo>
                <a:lnTo>
                  <a:pt x="2700" y="2208"/>
                </a:lnTo>
                <a:lnTo>
                  <a:pt x="2731" y="2273"/>
                </a:lnTo>
                <a:lnTo>
                  <a:pt x="2736" y="2250"/>
                </a:lnTo>
                <a:lnTo>
                  <a:pt x="2739" y="2226"/>
                </a:lnTo>
                <a:lnTo>
                  <a:pt x="2739" y="1135"/>
                </a:lnTo>
                <a:lnTo>
                  <a:pt x="2735" y="1104"/>
                </a:lnTo>
                <a:lnTo>
                  <a:pt x="2726" y="1076"/>
                </a:lnTo>
                <a:lnTo>
                  <a:pt x="2712" y="1049"/>
                </a:lnTo>
                <a:lnTo>
                  <a:pt x="2694" y="1027"/>
                </a:lnTo>
                <a:lnTo>
                  <a:pt x="2670" y="1008"/>
                </a:lnTo>
                <a:lnTo>
                  <a:pt x="2645" y="994"/>
                </a:lnTo>
                <a:lnTo>
                  <a:pt x="2617" y="985"/>
                </a:lnTo>
                <a:lnTo>
                  <a:pt x="2586" y="982"/>
                </a:lnTo>
                <a:lnTo>
                  <a:pt x="797" y="982"/>
                </a:lnTo>
                <a:close/>
                <a:moveTo>
                  <a:pt x="797" y="851"/>
                </a:moveTo>
                <a:lnTo>
                  <a:pt x="2586" y="851"/>
                </a:lnTo>
                <a:lnTo>
                  <a:pt x="2628" y="854"/>
                </a:lnTo>
                <a:lnTo>
                  <a:pt x="2667" y="863"/>
                </a:lnTo>
                <a:lnTo>
                  <a:pt x="2705" y="877"/>
                </a:lnTo>
                <a:lnTo>
                  <a:pt x="2740" y="896"/>
                </a:lnTo>
                <a:lnTo>
                  <a:pt x="2771" y="921"/>
                </a:lnTo>
                <a:lnTo>
                  <a:pt x="2800" y="948"/>
                </a:lnTo>
                <a:lnTo>
                  <a:pt x="2823" y="980"/>
                </a:lnTo>
                <a:lnTo>
                  <a:pt x="2843" y="1015"/>
                </a:lnTo>
                <a:lnTo>
                  <a:pt x="2857" y="1053"/>
                </a:lnTo>
                <a:lnTo>
                  <a:pt x="2866" y="1093"/>
                </a:lnTo>
                <a:lnTo>
                  <a:pt x="2869" y="1135"/>
                </a:lnTo>
                <a:lnTo>
                  <a:pt x="2869" y="2226"/>
                </a:lnTo>
                <a:lnTo>
                  <a:pt x="2867" y="2263"/>
                </a:lnTo>
                <a:lnTo>
                  <a:pt x="2860" y="2299"/>
                </a:lnTo>
                <a:lnTo>
                  <a:pt x="2848" y="2332"/>
                </a:lnTo>
                <a:lnTo>
                  <a:pt x="2832" y="2364"/>
                </a:lnTo>
                <a:lnTo>
                  <a:pt x="2813" y="2393"/>
                </a:lnTo>
                <a:lnTo>
                  <a:pt x="2791" y="2420"/>
                </a:lnTo>
                <a:lnTo>
                  <a:pt x="2765" y="2444"/>
                </a:lnTo>
                <a:lnTo>
                  <a:pt x="2764" y="2445"/>
                </a:lnTo>
                <a:lnTo>
                  <a:pt x="2762" y="2446"/>
                </a:lnTo>
                <a:lnTo>
                  <a:pt x="2732" y="2468"/>
                </a:lnTo>
                <a:lnTo>
                  <a:pt x="2699" y="2485"/>
                </a:lnTo>
                <a:lnTo>
                  <a:pt x="2663" y="2498"/>
                </a:lnTo>
                <a:lnTo>
                  <a:pt x="2625" y="2508"/>
                </a:lnTo>
                <a:lnTo>
                  <a:pt x="2586" y="2510"/>
                </a:lnTo>
                <a:lnTo>
                  <a:pt x="797" y="2510"/>
                </a:lnTo>
                <a:lnTo>
                  <a:pt x="758" y="2508"/>
                </a:lnTo>
                <a:lnTo>
                  <a:pt x="720" y="2499"/>
                </a:lnTo>
                <a:lnTo>
                  <a:pt x="685" y="2486"/>
                </a:lnTo>
                <a:lnTo>
                  <a:pt x="652" y="2469"/>
                </a:lnTo>
                <a:lnTo>
                  <a:pt x="621" y="2447"/>
                </a:lnTo>
                <a:lnTo>
                  <a:pt x="617" y="2444"/>
                </a:lnTo>
                <a:lnTo>
                  <a:pt x="613" y="2441"/>
                </a:lnTo>
                <a:lnTo>
                  <a:pt x="610" y="2438"/>
                </a:lnTo>
                <a:lnTo>
                  <a:pt x="583" y="2410"/>
                </a:lnTo>
                <a:lnTo>
                  <a:pt x="559" y="2379"/>
                </a:lnTo>
                <a:lnTo>
                  <a:pt x="540" y="2345"/>
                </a:lnTo>
                <a:lnTo>
                  <a:pt x="526" y="2307"/>
                </a:lnTo>
                <a:lnTo>
                  <a:pt x="516" y="2268"/>
                </a:lnTo>
                <a:lnTo>
                  <a:pt x="513" y="2226"/>
                </a:lnTo>
                <a:lnTo>
                  <a:pt x="513" y="1135"/>
                </a:lnTo>
                <a:lnTo>
                  <a:pt x="516" y="1093"/>
                </a:lnTo>
                <a:lnTo>
                  <a:pt x="526" y="1053"/>
                </a:lnTo>
                <a:lnTo>
                  <a:pt x="540" y="1015"/>
                </a:lnTo>
                <a:lnTo>
                  <a:pt x="559" y="980"/>
                </a:lnTo>
                <a:lnTo>
                  <a:pt x="584" y="948"/>
                </a:lnTo>
                <a:lnTo>
                  <a:pt x="611" y="921"/>
                </a:lnTo>
                <a:lnTo>
                  <a:pt x="643" y="896"/>
                </a:lnTo>
                <a:lnTo>
                  <a:pt x="677" y="877"/>
                </a:lnTo>
                <a:lnTo>
                  <a:pt x="715" y="863"/>
                </a:lnTo>
                <a:lnTo>
                  <a:pt x="756" y="854"/>
                </a:lnTo>
                <a:lnTo>
                  <a:pt x="797" y="851"/>
                </a:lnTo>
                <a:close/>
                <a:moveTo>
                  <a:pt x="1679" y="130"/>
                </a:moveTo>
                <a:lnTo>
                  <a:pt x="1583" y="133"/>
                </a:lnTo>
                <a:lnTo>
                  <a:pt x="1486" y="143"/>
                </a:lnTo>
                <a:lnTo>
                  <a:pt x="1392" y="158"/>
                </a:lnTo>
                <a:lnTo>
                  <a:pt x="1300" y="178"/>
                </a:lnTo>
                <a:lnTo>
                  <a:pt x="1209" y="204"/>
                </a:lnTo>
                <a:lnTo>
                  <a:pt x="1121" y="235"/>
                </a:lnTo>
                <a:lnTo>
                  <a:pt x="1036" y="272"/>
                </a:lnTo>
                <a:lnTo>
                  <a:pt x="952" y="313"/>
                </a:lnTo>
                <a:lnTo>
                  <a:pt x="873" y="358"/>
                </a:lnTo>
                <a:lnTo>
                  <a:pt x="795" y="408"/>
                </a:lnTo>
                <a:lnTo>
                  <a:pt x="722" y="463"/>
                </a:lnTo>
                <a:lnTo>
                  <a:pt x="652" y="522"/>
                </a:lnTo>
                <a:lnTo>
                  <a:pt x="586" y="586"/>
                </a:lnTo>
                <a:lnTo>
                  <a:pt x="522" y="652"/>
                </a:lnTo>
                <a:lnTo>
                  <a:pt x="463" y="722"/>
                </a:lnTo>
                <a:lnTo>
                  <a:pt x="408" y="795"/>
                </a:lnTo>
                <a:lnTo>
                  <a:pt x="359" y="873"/>
                </a:lnTo>
                <a:lnTo>
                  <a:pt x="313" y="952"/>
                </a:lnTo>
                <a:lnTo>
                  <a:pt x="272" y="1036"/>
                </a:lnTo>
                <a:lnTo>
                  <a:pt x="235" y="1121"/>
                </a:lnTo>
                <a:lnTo>
                  <a:pt x="204" y="1209"/>
                </a:lnTo>
                <a:lnTo>
                  <a:pt x="178" y="1300"/>
                </a:lnTo>
                <a:lnTo>
                  <a:pt x="158" y="1392"/>
                </a:lnTo>
                <a:lnTo>
                  <a:pt x="143" y="1486"/>
                </a:lnTo>
                <a:lnTo>
                  <a:pt x="133" y="1583"/>
                </a:lnTo>
                <a:lnTo>
                  <a:pt x="130" y="1680"/>
                </a:lnTo>
                <a:lnTo>
                  <a:pt x="133" y="1778"/>
                </a:lnTo>
                <a:lnTo>
                  <a:pt x="143" y="1875"/>
                </a:lnTo>
                <a:lnTo>
                  <a:pt x="158" y="1969"/>
                </a:lnTo>
                <a:lnTo>
                  <a:pt x="178" y="2061"/>
                </a:lnTo>
                <a:lnTo>
                  <a:pt x="204" y="2152"/>
                </a:lnTo>
                <a:lnTo>
                  <a:pt x="235" y="2240"/>
                </a:lnTo>
                <a:lnTo>
                  <a:pt x="272" y="2325"/>
                </a:lnTo>
                <a:lnTo>
                  <a:pt x="313" y="2409"/>
                </a:lnTo>
                <a:lnTo>
                  <a:pt x="359" y="2488"/>
                </a:lnTo>
                <a:lnTo>
                  <a:pt x="408" y="2566"/>
                </a:lnTo>
                <a:lnTo>
                  <a:pt x="463" y="2639"/>
                </a:lnTo>
                <a:lnTo>
                  <a:pt x="522" y="2709"/>
                </a:lnTo>
                <a:lnTo>
                  <a:pt x="586" y="2775"/>
                </a:lnTo>
                <a:lnTo>
                  <a:pt x="652" y="2839"/>
                </a:lnTo>
                <a:lnTo>
                  <a:pt x="722" y="2898"/>
                </a:lnTo>
                <a:lnTo>
                  <a:pt x="795" y="2953"/>
                </a:lnTo>
                <a:lnTo>
                  <a:pt x="873" y="3002"/>
                </a:lnTo>
                <a:lnTo>
                  <a:pt x="952" y="3048"/>
                </a:lnTo>
                <a:lnTo>
                  <a:pt x="1036" y="3089"/>
                </a:lnTo>
                <a:lnTo>
                  <a:pt x="1121" y="3126"/>
                </a:lnTo>
                <a:lnTo>
                  <a:pt x="1209" y="3157"/>
                </a:lnTo>
                <a:lnTo>
                  <a:pt x="1300" y="3183"/>
                </a:lnTo>
                <a:lnTo>
                  <a:pt x="1392" y="3203"/>
                </a:lnTo>
                <a:lnTo>
                  <a:pt x="1486" y="3218"/>
                </a:lnTo>
                <a:lnTo>
                  <a:pt x="1583" y="3228"/>
                </a:lnTo>
                <a:lnTo>
                  <a:pt x="1679" y="3231"/>
                </a:lnTo>
                <a:lnTo>
                  <a:pt x="1778" y="3228"/>
                </a:lnTo>
                <a:lnTo>
                  <a:pt x="1875" y="3218"/>
                </a:lnTo>
                <a:lnTo>
                  <a:pt x="1969" y="3203"/>
                </a:lnTo>
                <a:lnTo>
                  <a:pt x="2061" y="3183"/>
                </a:lnTo>
                <a:lnTo>
                  <a:pt x="2152" y="3157"/>
                </a:lnTo>
                <a:lnTo>
                  <a:pt x="2240" y="3126"/>
                </a:lnTo>
                <a:lnTo>
                  <a:pt x="2325" y="3089"/>
                </a:lnTo>
                <a:lnTo>
                  <a:pt x="2409" y="3048"/>
                </a:lnTo>
                <a:lnTo>
                  <a:pt x="2488" y="3002"/>
                </a:lnTo>
                <a:lnTo>
                  <a:pt x="2566" y="2953"/>
                </a:lnTo>
                <a:lnTo>
                  <a:pt x="2639" y="2898"/>
                </a:lnTo>
                <a:lnTo>
                  <a:pt x="2709" y="2839"/>
                </a:lnTo>
                <a:lnTo>
                  <a:pt x="2775" y="2775"/>
                </a:lnTo>
                <a:lnTo>
                  <a:pt x="2839" y="2709"/>
                </a:lnTo>
                <a:lnTo>
                  <a:pt x="2898" y="2639"/>
                </a:lnTo>
                <a:lnTo>
                  <a:pt x="2953" y="2566"/>
                </a:lnTo>
                <a:lnTo>
                  <a:pt x="3003" y="2488"/>
                </a:lnTo>
                <a:lnTo>
                  <a:pt x="3048" y="2409"/>
                </a:lnTo>
                <a:lnTo>
                  <a:pt x="3089" y="2325"/>
                </a:lnTo>
                <a:lnTo>
                  <a:pt x="3126" y="2240"/>
                </a:lnTo>
                <a:lnTo>
                  <a:pt x="3157" y="2152"/>
                </a:lnTo>
                <a:lnTo>
                  <a:pt x="3183" y="2061"/>
                </a:lnTo>
                <a:lnTo>
                  <a:pt x="3203" y="1969"/>
                </a:lnTo>
                <a:lnTo>
                  <a:pt x="3218" y="1875"/>
                </a:lnTo>
                <a:lnTo>
                  <a:pt x="3228" y="1778"/>
                </a:lnTo>
                <a:lnTo>
                  <a:pt x="3231" y="1680"/>
                </a:lnTo>
                <a:lnTo>
                  <a:pt x="3228" y="1583"/>
                </a:lnTo>
                <a:lnTo>
                  <a:pt x="3218" y="1486"/>
                </a:lnTo>
                <a:lnTo>
                  <a:pt x="3203" y="1392"/>
                </a:lnTo>
                <a:lnTo>
                  <a:pt x="3183" y="1300"/>
                </a:lnTo>
                <a:lnTo>
                  <a:pt x="3157" y="1209"/>
                </a:lnTo>
                <a:lnTo>
                  <a:pt x="3126" y="1121"/>
                </a:lnTo>
                <a:lnTo>
                  <a:pt x="3089" y="1036"/>
                </a:lnTo>
                <a:lnTo>
                  <a:pt x="3048" y="952"/>
                </a:lnTo>
                <a:lnTo>
                  <a:pt x="3003" y="873"/>
                </a:lnTo>
                <a:lnTo>
                  <a:pt x="2953" y="795"/>
                </a:lnTo>
                <a:lnTo>
                  <a:pt x="2898" y="722"/>
                </a:lnTo>
                <a:lnTo>
                  <a:pt x="2839" y="652"/>
                </a:lnTo>
                <a:lnTo>
                  <a:pt x="2775" y="586"/>
                </a:lnTo>
                <a:lnTo>
                  <a:pt x="2709" y="522"/>
                </a:lnTo>
                <a:lnTo>
                  <a:pt x="2639" y="463"/>
                </a:lnTo>
                <a:lnTo>
                  <a:pt x="2566" y="408"/>
                </a:lnTo>
                <a:lnTo>
                  <a:pt x="2488" y="358"/>
                </a:lnTo>
                <a:lnTo>
                  <a:pt x="2409" y="313"/>
                </a:lnTo>
                <a:lnTo>
                  <a:pt x="2325" y="272"/>
                </a:lnTo>
                <a:lnTo>
                  <a:pt x="2240" y="235"/>
                </a:lnTo>
                <a:lnTo>
                  <a:pt x="2152" y="204"/>
                </a:lnTo>
                <a:lnTo>
                  <a:pt x="2061" y="178"/>
                </a:lnTo>
                <a:lnTo>
                  <a:pt x="1969" y="158"/>
                </a:lnTo>
                <a:lnTo>
                  <a:pt x="1875" y="143"/>
                </a:lnTo>
                <a:lnTo>
                  <a:pt x="1778" y="133"/>
                </a:lnTo>
                <a:lnTo>
                  <a:pt x="1679" y="130"/>
                </a:lnTo>
                <a:close/>
                <a:moveTo>
                  <a:pt x="1679" y="0"/>
                </a:moveTo>
                <a:lnTo>
                  <a:pt x="1782" y="3"/>
                </a:lnTo>
                <a:lnTo>
                  <a:pt x="1883" y="12"/>
                </a:lnTo>
                <a:lnTo>
                  <a:pt x="1982" y="27"/>
                </a:lnTo>
                <a:lnTo>
                  <a:pt x="2079" y="48"/>
                </a:lnTo>
                <a:lnTo>
                  <a:pt x="2173" y="74"/>
                </a:lnTo>
                <a:lnTo>
                  <a:pt x="2266" y="105"/>
                </a:lnTo>
                <a:lnTo>
                  <a:pt x="2356" y="142"/>
                </a:lnTo>
                <a:lnTo>
                  <a:pt x="2443" y="183"/>
                </a:lnTo>
                <a:lnTo>
                  <a:pt x="2528" y="230"/>
                </a:lnTo>
                <a:lnTo>
                  <a:pt x="2609" y="281"/>
                </a:lnTo>
                <a:lnTo>
                  <a:pt x="2688" y="336"/>
                </a:lnTo>
                <a:lnTo>
                  <a:pt x="2762" y="396"/>
                </a:lnTo>
                <a:lnTo>
                  <a:pt x="2834" y="459"/>
                </a:lnTo>
                <a:lnTo>
                  <a:pt x="2902" y="527"/>
                </a:lnTo>
                <a:lnTo>
                  <a:pt x="2965" y="599"/>
                </a:lnTo>
                <a:lnTo>
                  <a:pt x="3025" y="673"/>
                </a:lnTo>
                <a:lnTo>
                  <a:pt x="3080" y="752"/>
                </a:lnTo>
                <a:lnTo>
                  <a:pt x="3131" y="833"/>
                </a:lnTo>
                <a:lnTo>
                  <a:pt x="3178" y="918"/>
                </a:lnTo>
                <a:lnTo>
                  <a:pt x="3219" y="1005"/>
                </a:lnTo>
                <a:lnTo>
                  <a:pt x="3256" y="1095"/>
                </a:lnTo>
                <a:lnTo>
                  <a:pt x="3287" y="1188"/>
                </a:lnTo>
                <a:lnTo>
                  <a:pt x="3313" y="1282"/>
                </a:lnTo>
                <a:lnTo>
                  <a:pt x="3334" y="1379"/>
                </a:lnTo>
                <a:lnTo>
                  <a:pt x="3349" y="1478"/>
                </a:lnTo>
                <a:lnTo>
                  <a:pt x="3358" y="1579"/>
                </a:lnTo>
                <a:lnTo>
                  <a:pt x="3361" y="1680"/>
                </a:lnTo>
                <a:lnTo>
                  <a:pt x="3358" y="1782"/>
                </a:lnTo>
                <a:lnTo>
                  <a:pt x="3349" y="1883"/>
                </a:lnTo>
                <a:lnTo>
                  <a:pt x="3334" y="1982"/>
                </a:lnTo>
                <a:lnTo>
                  <a:pt x="3313" y="2079"/>
                </a:lnTo>
                <a:lnTo>
                  <a:pt x="3287" y="2173"/>
                </a:lnTo>
                <a:lnTo>
                  <a:pt x="3256" y="2266"/>
                </a:lnTo>
                <a:lnTo>
                  <a:pt x="3219" y="2356"/>
                </a:lnTo>
                <a:lnTo>
                  <a:pt x="3178" y="2443"/>
                </a:lnTo>
                <a:lnTo>
                  <a:pt x="3131" y="2528"/>
                </a:lnTo>
                <a:lnTo>
                  <a:pt x="3080" y="2609"/>
                </a:lnTo>
                <a:lnTo>
                  <a:pt x="3025" y="2688"/>
                </a:lnTo>
                <a:lnTo>
                  <a:pt x="2965" y="2762"/>
                </a:lnTo>
                <a:lnTo>
                  <a:pt x="2902" y="2834"/>
                </a:lnTo>
                <a:lnTo>
                  <a:pt x="2834" y="2902"/>
                </a:lnTo>
                <a:lnTo>
                  <a:pt x="2762" y="2965"/>
                </a:lnTo>
                <a:lnTo>
                  <a:pt x="2688" y="3025"/>
                </a:lnTo>
                <a:lnTo>
                  <a:pt x="2609" y="3080"/>
                </a:lnTo>
                <a:lnTo>
                  <a:pt x="2528" y="3131"/>
                </a:lnTo>
                <a:lnTo>
                  <a:pt x="2443" y="3178"/>
                </a:lnTo>
                <a:lnTo>
                  <a:pt x="2356" y="3219"/>
                </a:lnTo>
                <a:lnTo>
                  <a:pt x="2266" y="3256"/>
                </a:lnTo>
                <a:lnTo>
                  <a:pt x="2173" y="3287"/>
                </a:lnTo>
                <a:lnTo>
                  <a:pt x="2079" y="3313"/>
                </a:lnTo>
                <a:lnTo>
                  <a:pt x="1982" y="3334"/>
                </a:lnTo>
                <a:lnTo>
                  <a:pt x="1883" y="3349"/>
                </a:lnTo>
                <a:lnTo>
                  <a:pt x="1782" y="3358"/>
                </a:lnTo>
                <a:lnTo>
                  <a:pt x="1679" y="3361"/>
                </a:lnTo>
                <a:lnTo>
                  <a:pt x="1579" y="3358"/>
                </a:lnTo>
                <a:lnTo>
                  <a:pt x="1478" y="3349"/>
                </a:lnTo>
                <a:lnTo>
                  <a:pt x="1379" y="3334"/>
                </a:lnTo>
                <a:lnTo>
                  <a:pt x="1282" y="3313"/>
                </a:lnTo>
                <a:lnTo>
                  <a:pt x="1188" y="3287"/>
                </a:lnTo>
                <a:lnTo>
                  <a:pt x="1095" y="3256"/>
                </a:lnTo>
                <a:lnTo>
                  <a:pt x="1005" y="3219"/>
                </a:lnTo>
                <a:lnTo>
                  <a:pt x="918" y="3178"/>
                </a:lnTo>
                <a:lnTo>
                  <a:pt x="833" y="3131"/>
                </a:lnTo>
                <a:lnTo>
                  <a:pt x="752" y="3080"/>
                </a:lnTo>
                <a:lnTo>
                  <a:pt x="673" y="3025"/>
                </a:lnTo>
                <a:lnTo>
                  <a:pt x="599" y="2965"/>
                </a:lnTo>
                <a:lnTo>
                  <a:pt x="527" y="2902"/>
                </a:lnTo>
                <a:lnTo>
                  <a:pt x="459" y="2834"/>
                </a:lnTo>
                <a:lnTo>
                  <a:pt x="396" y="2762"/>
                </a:lnTo>
                <a:lnTo>
                  <a:pt x="336" y="2688"/>
                </a:lnTo>
                <a:lnTo>
                  <a:pt x="281" y="2609"/>
                </a:lnTo>
                <a:lnTo>
                  <a:pt x="230" y="2528"/>
                </a:lnTo>
                <a:lnTo>
                  <a:pt x="183" y="2443"/>
                </a:lnTo>
                <a:lnTo>
                  <a:pt x="142" y="2356"/>
                </a:lnTo>
                <a:lnTo>
                  <a:pt x="105" y="2266"/>
                </a:lnTo>
                <a:lnTo>
                  <a:pt x="74" y="2173"/>
                </a:lnTo>
                <a:lnTo>
                  <a:pt x="48" y="2079"/>
                </a:lnTo>
                <a:lnTo>
                  <a:pt x="27" y="1982"/>
                </a:lnTo>
                <a:lnTo>
                  <a:pt x="12" y="1883"/>
                </a:lnTo>
                <a:lnTo>
                  <a:pt x="3" y="1782"/>
                </a:lnTo>
                <a:lnTo>
                  <a:pt x="0" y="1680"/>
                </a:lnTo>
                <a:lnTo>
                  <a:pt x="3" y="1579"/>
                </a:lnTo>
                <a:lnTo>
                  <a:pt x="12" y="1478"/>
                </a:lnTo>
                <a:lnTo>
                  <a:pt x="27" y="1379"/>
                </a:lnTo>
                <a:lnTo>
                  <a:pt x="48" y="1282"/>
                </a:lnTo>
                <a:lnTo>
                  <a:pt x="74" y="1188"/>
                </a:lnTo>
                <a:lnTo>
                  <a:pt x="105" y="1095"/>
                </a:lnTo>
                <a:lnTo>
                  <a:pt x="142" y="1005"/>
                </a:lnTo>
                <a:lnTo>
                  <a:pt x="183" y="918"/>
                </a:lnTo>
                <a:lnTo>
                  <a:pt x="230" y="833"/>
                </a:lnTo>
                <a:lnTo>
                  <a:pt x="281" y="752"/>
                </a:lnTo>
                <a:lnTo>
                  <a:pt x="336" y="673"/>
                </a:lnTo>
                <a:lnTo>
                  <a:pt x="396" y="599"/>
                </a:lnTo>
                <a:lnTo>
                  <a:pt x="459" y="527"/>
                </a:lnTo>
                <a:lnTo>
                  <a:pt x="527" y="459"/>
                </a:lnTo>
                <a:lnTo>
                  <a:pt x="599" y="396"/>
                </a:lnTo>
                <a:lnTo>
                  <a:pt x="673" y="336"/>
                </a:lnTo>
                <a:lnTo>
                  <a:pt x="752" y="281"/>
                </a:lnTo>
                <a:lnTo>
                  <a:pt x="833" y="230"/>
                </a:lnTo>
                <a:lnTo>
                  <a:pt x="918" y="183"/>
                </a:lnTo>
                <a:lnTo>
                  <a:pt x="1005" y="142"/>
                </a:lnTo>
                <a:lnTo>
                  <a:pt x="1095" y="105"/>
                </a:lnTo>
                <a:lnTo>
                  <a:pt x="1188" y="74"/>
                </a:lnTo>
                <a:lnTo>
                  <a:pt x="1282" y="48"/>
                </a:lnTo>
                <a:lnTo>
                  <a:pt x="1379" y="27"/>
                </a:lnTo>
                <a:lnTo>
                  <a:pt x="1478" y="12"/>
                </a:lnTo>
                <a:lnTo>
                  <a:pt x="1579" y="3"/>
                </a:lnTo>
                <a:lnTo>
                  <a:pt x="1679" y="0"/>
                </a:lnTo>
                <a:close/>
              </a:path>
            </a:pathLst>
          </a:custGeom>
          <a:solidFill>
            <a:schemeClr val="tx1">
              <a:lumMod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 name="Freeform 41"/>
          <p:cNvSpPr>
            <a:spLocks noEditPoints="1"/>
          </p:cNvSpPr>
          <p:nvPr/>
        </p:nvSpPr>
        <p:spPr bwMode="auto">
          <a:xfrm>
            <a:off x="3704794" y="2672634"/>
            <a:ext cx="434923" cy="386333"/>
          </a:xfrm>
          <a:custGeom>
            <a:avLst/>
            <a:gdLst>
              <a:gd name="T0" fmla="*/ 537 w 1008"/>
              <a:gd name="T1" fmla="*/ 157 h 1008"/>
              <a:gd name="T2" fmla="*/ 564 w 1008"/>
              <a:gd name="T3" fmla="*/ 191 h 1008"/>
              <a:gd name="T4" fmla="*/ 564 w 1008"/>
              <a:gd name="T5" fmla="*/ 270 h 1008"/>
              <a:gd name="T6" fmla="*/ 550 w 1008"/>
              <a:gd name="T7" fmla="*/ 308 h 1008"/>
              <a:gd name="T8" fmla="*/ 500 w 1008"/>
              <a:gd name="T9" fmla="*/ 231 h 1008"/>
              <a:gd name="T10" fmla="*/ 441 w 1008"/>
              <a:gd name="T11" fmla="*/ 157 h 1008"/>
              <a:gd name="T12" fmla="*/ 467 w 1008"/>
              <a:gd name="T13" fmla="*/ 191 h 1008"/>
              <a:gd name="T14" fmla="*/ 467 w 1008"/>
              <a:gd name="T15" fmla="*/ 270 h 1008"/>
              <a:gd name="T16" fmla="*/ 454 w 1008"/>
              <a:gd name="T17" fmla="*/ 308 h 1008"/>
              <a:gd name="T18" fmla="*/ 404 w 1008"/>
              <a:gd name="T19" fmla="*/ 231 h 1008"/>
              <a:gd name="T20" fmla="*/ 634 w 1008"/>
              <a:gd name="T21" fmla="*/ 157 h 1008"/>
              <a:gd name="T22" fmla="*/ 661 w 1008"/>
              <a:gd name="T23" fmla="*/ 191 h 1008"/>
              <a:gd name="T24" fmla="*/ 661 w 1008"/>
              <a:gd name="T25" fmla="*/ 270 h 1008"/>
              <a:gd name="T26" fmla="*/ 648 w 1008"/>
              <a:gd name="T27" fmla="*/ 308 h 1008"/>
              <a:gd name="T28" fmla="*/ 597 w 1008"/>
              <a:gd name="T29" fmla="*/ 231 h 1008"/>
              <a:gd name="T30" fmla="*/ 405 w 1008"/>
              <a:gd name="T31" fmla="*/ 813 h 1008"/>
              <a:gd name="T32" fmla="*/ 366 w 1008"/>
              <a:gd name="T33" fmla="*/ 371 h 1008"/>
              <a:gd name="T34" fmla="*/ 701 w 1008"/>
              <a:gd name="T35" fmla="*/ 774 h 1008"/>
              <a:gd name="T36" fmla="*/ 240 w 1008"/>
              <a:gd name="T37" fmla="*/ 493 h 1008"/>
              <a:gd name="T38" fmla="*/ 324 w 1008"/>
              <a:gd name="T39" fmla="*/ 456 h 1008"/>
              <a:gd name="T40" fmla="*/ 240 w 1008"/>
              <a:gd name="T41" fmla="*/ 493 h 1008"/>
              <a:gd name="T42" fmla="*/ 345 w 1008"/>
              <a:gd name="T43" fmla="*/ 329 h 1008"/>
              <a:gd name="T44" fmla="*/ 324 w 1008"/>
              <a:gd name="T45" fmla="*/ 414 h 1008"/>
              <a:gd name="T46" fmla="*/ 198 w 1008"/>
              <a:gd name="T47" fmla="*/ 435 h 1008"/>
              <a:gd name="T48" fmla="*/ 324 w 1008"/>
              <a:gd name="T49" fmla="*/ 750 h 1008"/>
              <a:gd name="T50" fmla="*/ 405 w 1008"/>
              <a:gd name="T51" fmla="*/ 855 h 1008"/>
              <a:gd name="T52" fmla="*/ 744 w 1008"/>
              <a:gd name="T53" fmla="*/ 774 h 1008"/>
              <a:gd name="T54" fmla="*/ 722 w 1008"/>
              <a:gd name="T55" fmla="*/ 329 h 1008"/>
              <a:gd name="T56" fmla="*/ 43 w 1008"/>
              <a:gd name="T57" fmla="*/ 504 h 1008"/>
              <a:gd name="T58" fmla="*/ 966 w 1008"/>
              <a:gd name="T59" fmla="*/ 504 h 1008"/>
              <a:gd name="T60" fmla="*/ 504 w 1008"/>
              <a:gd name="T61" fmla="*/ 0 h 1008"/>
              <a:gd name="T62" fmla="*/ 504 w 1008"/>
              <a:gd name="T63" fmla="*/ 1008 h 1008"/>
              <a:gd name="T64" fmla="*/ 504 w 1008"/>
              <a:gd name="T65" fmla="*/ 0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8" h="1008">
                <a:moveTo>
                  <a:pt x="500" y="231"/>
                </a:moveTo>
                <a:cubicBezTo>
                  <a:pt x="500" y="203"/>
                  <a:pt x="513" y="177"/>
                  <a:pt x="537" y="157"/>
                </a:cubicBezTo>
                <a:cubicBezTo>
                  <a:pt x="546" y="150"/>
                  <a:pt x="560" y="152"/>
                  <a:pt x="567" y="161"/>
                </a:cubicBezTo>
                <a:cubicBezTo>
                  <a:pt x="574" y="170"/>
                  <a:pt x="573" y="183"/>
                  <a:pt x="564" y="191"/>
                </a:cubicBezTo>
                <a:cubicBezTo>
                  <a:pt x="550" y="202"/>
                  <a:pt x="542" y="216"/>
                  <a:pt x="542" y="231"/>
                </a:cubicBezTo>
                <a:cubicBezTo>
                  <a:pt x="542" y="245"/>
                  <a:pt x="550" y="259"/>
                  <a:pt x="564" y="270"/>
                </a:cubicBezTo>
                <a:cubicBezTo>
                  <a:pt x="573" y="278"/>
                  <a:pt x="574" y="291"/>
                  <a:pt x="567" y="300"/>
                </a:cubicBezTo>
                <a:cubicBezTo>
                  <a:pt x="563" y="306"/>
                  <a:pt x="557" y="308"/>
                  <a:pt x="550" y="308"/>
                </a:cubicBezTo>
                <a:cubicBezTo>
                  <a:pt x="546" y="308"/>
                  <a:pt x="541" y="307"/>
                  <a:pt x="537" y="304"/>
                </a:cubicBezTo>
                <a:cubicBezTo>
                  <a:pt x="513" y="285"/>
                  <a:pt x="500" y="259"/>
                  <a:pt x="500" y="231"/>
                </a:cubicBezTo>
                <a:close/>
                <a:moveTo>
                  <a:pt x="404" y="231"/>
                </a:moveTo>
                <a:cubicBezTo>
                  <a:pt x="404" y="203"/>
                  <a:pt x="417" y="177"/>
                  <a:pt x="441" y="157"/>
                </a:cubicBezTo>
                <a:cubicBezTo>
                  <a:pt x="450" y="150"/>
                  <a:pt x="464" y="152"/>
                  <a:pt x="471" y="161"/>
                </a:cubicBezTo>
                <a:cubicBezTo>
                  <a:pt x="478" y="170"/>
                  <a:pt x="477" y="183"/>
                  <a:pt x="467" y="191"/>
                </a:cubicBezTo>
                <a:cubicBezTo>
                  <a:pt x="454" y="202"/>
                  <a:pt x="446" y="216"/>
                  <a:pt x="446" y="231"/>
                </a:cubicBezTo>
                <a:cubicBezTo>
                  <a:pt x="446" y="245"/>
                  <a:pt x="454" y="259"/>
                  <a:pt x="467" y="270"/>
                </a:cubicBezTo>
                <a:cubicBezTo>
                  <a:pt x="477" y="278"/>
                  <a:pt x="478" y="291"/>
                  <a:pt x="471" y="300"/>
                </a:cubicBezTo>
                <a:cubicBezTo>
                  <a:pt x="467" y="306"/>
                  <a:pt x="460" y="308"/>
                  <a:pt x="454" y="308"/>
                </a:cubicBezTo>
                <a:cubicBezTo>
                  <a:pt x="450" y="308"/>
                  <a:pt x="445" y="307"/>
                  <a:pt x="441" y="304"/>
                </a:cubicBezTo>
                <a:cubicBezTo>
                  <a:pt x="417" y="285"/>
                  <a:pt x="404" y="259"/>
                  <a:pt x="404" y="231"/>
                </a:cubicBezTo>
                <a:close/>
                <a:moveTo>
                  <a:pt x="597" y="231"/>
                </a:moveTo>
                <a:cubicBezTo>
                  <a:pt x="597" y="203"/>
                  <a:pt x="610" y="177"/>
                  <a:pt x="634" y="157"/>
                </a:cubicBezTo>
                <a:cubicBezTo>
                  <a:pt x="643" y="150"/>
                  <a:pt x="657" y="152"/>
                  <a:pt x="664" y="161"/>
                </a:cubicBezTo>
                <a:cubicBezTo>
                  <a:pt x="671" y="170"/>
                  <a:pt x="670" y="183"/>
                  <a:pt x="661" y="191"/>
                </a:cubicBezTo>
                <a:cubicBezTo>
                  <a:pt x="647" y="202"/>
                  <a:pt x="639" y="216"/>
                  <a:pt x="639" y="231"/>
                </a:cubicBezTo>
                <a:cubicBezTo>
                  <a:pt x="639" y="245"/>
                  <a:pt x="647" y="259"/>
                  <a:pt x="661" y="270"/>
                </a:cubicBezTo>
                <a:cubicBezTo>
                  <a:pt x="670" y="278"/>
                  <a:pt x="671" y="291"/>
                  <a:pt x="664" y="300"/>
                </a:cubicBezTo>
                <a:cubicBezTo>
                  <a:pt x="660" y="306"/>
                  <a:pt x="654" y="308"/>
                  <a:pt x="648" y="308"/>
                </a:cubicBezTo>
                <a:cubicBezTo>
                  <a:pt x="643" y="308"/>
                  <a:pt x="638" y="307"/>
                  <a:pt x="634" y="304"/>
                </a:cubicBezTo>
                <a:cubicBezTo>
                  <a:pt x="610" y="285"/>
                  <a:pt x="597" y="259"/>
                  <a:pt x="597" y="231"/>
                </a:cubicBezTo>
                <a:close/>
                <a:moveTo>
                  <a:pt x="662" y="813"/>
                </a:moveTo>
                <a:lnTo>
                  <a:pt x="405" y="813"/>
                </a:lnTo>
                <a:cubicBezTo>
                  <a:pt x="384" y="813"/>
                  <a:pt x="366" y="795"/>
                  <a:pt x="366" y="774"/>
                </a:cubicBezTo>
                <a:lnTo>
                  <a:pt x="366" y="371"/>
                </a:lnTo>
                <a:lnTo>
                  <a:pt x="701" y="371"/>
                </a:lnTo>
                <a:lnTo>
                  <a:pt x="701" y="774"/>
                </a:lnTo>
                <a:cubicBezTo>
                  <a:pt x="701" y="795"/>
                  <a:pt x="684" y="813"/>
                  <a:pt x="662" y="813"/>
                </a:cubicBezTo>
                <a:close/>
                <a:moveTo>
                  <a:pt x="240" y="493"/>
                </a:moveTo>
                <a:lnTo>
                  <a:pt x="240" y="456"/>
                </a:lnTo>
                <a:lnTo>
                  <a:pt x="324" y="456"/>
                </a:lnTo>
                <a:lnTo>
                  <a:pt x="324" y="707"/>
                </a:lnTo>
                <a:cubicBezTo>
                  <a:pt x="282" y="696"/>
                  <a:pt x="240" y="613"/>
                  <a:pt x="240" y="493"/>
                </a:cubicBezTo>
                <a:close/>
                <a:moveTo>
                  <a:pt x="722" y="329"/>
                </a:moveTo>
                <a:lnTo>
                  <a:pt x="345" y="329"/>
                </a:lnTo>
                <a:cubicBezTo>
                  <a:pt x="333" y="329"/>
                  <a:pt x="324" y="338"/>
                  <a:pt x="324" y="350"/>
                </a:cubicBezTo>
                <a:lnTo>
                  <a:pt x="324" y="414"/>
                </a:lnTo>
                <a:lnTo>
                  <a:pt x="219" y="414"/>
                </a:lnTo>
                <a:cubicBezTo>
                  <a:pt x="207" y="414"/>
                  <a:pt x="198" y="424"/>
                  <a:pt x="198" y="435"/>
                </a:cubicBezTo>
                <a:lnTo>
                  <a:pt x="198" y="493"/>
                </a:lnTo>
                <a:cubicBezTo>
                  <a:pt x="198" y="634"/>
                  <a:pt x="251" y="742"/>
                  <a:pt x="324" y="750"/>
                </a:cubicBezTo>
                <a:lnTo>
                  <a:pt x="324" y="774"/>
                </a:lnTo>
                <a:cubicBezTo>
                  <a:pt x="324" y="819"/>
                  <a:pt x="360" y="855"/>
                  <a:pt x="405" y="855"/>
                </a:cubicBezTo>
                <a:lnTo>
                  <a:pt x="662" y="855"/>
                </a:lnTo>
                <a:cubicBezTo>
                  <a:pt x="707" y="855"/>
                  <a:pt x="744" y="819"/>
                  <a:pt x="744" y="774"/>
                </a:cubicBezTo>
                <a:lnTo>
                  <a:pt x="744" y="350"/>
                </a:lnTo>
                <a:cubicBezTo>
                  <a:pt x="744" y="338"/>
                  <a:pt x="734" y="329"/>
                  <a:pt x="722" y="329"/>
                </a:cubicBezTo>
                <a:close/>
                <a:moveTo>
                  <a:pt x="504" y="966"/>
                </a:moveTo>
                <a:cubicBezTo>
                  <a:pt x="250" y="966"/>
                  <a:pt x="43" y="759"/>
                  <a:pt x="43" y="504"/>
                </a:cubicBezTo>
                <a:cubicBezTo>
                  <a:pt x="43" y="250"/>
                  <a:pt x="250" y="43"/>
                  <a:pt x="504" y="43"/>
                </a:cubicBezTo>
                <a:cubicBezTo>
                  <a:pt x="759" y="43"/>
                  <a:pt x="966" y="250"/>
                  <a:pt x="966" y="504"/>
                </a:cubicBezTo>
                <a:cubicBezTo>
                  <a:pt x="966" y="759"/>
                  <a:pt x="759" y="966"/>
                  <a:pt x="504" y="966"/>
                </a:cubicBezTo>
                <a:close/>
                <a:moveTo>
                  <a:pt x="504" y="0"/>
                </a:moveTo>
                <a:cubicBezTo>
                  <a:pt x="226" y="0"/>
                  <a:pt x="0" y="226"/>
                  <a:pt x="0" y="504"/>
                </a:cubicBezTo>
                <a:cubicBezTo>
                  <a:pt x="0" y="782"/>
                  <a:pt x="226" y="1008"/>
                  <a:pt x="504" y="1008"/>
                </a:cubicBezTo>
                <a:cubicBezTo>
                  <a:pt x="782" y="1008"/>
                  <a:pt x="1008" y="782"/>
                  <a:pt x="1008" y="504"/>
                </a:cubicBezTo>
                <a:cubicBezTo>
                  <a:pt x="1008" y="226"/>
                  <a:pt x="782" y="0"/>
                  <a:pt x="504" y="0"/>
                </a:cubicBezTo>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de-DE"/>
          </a:p>
        </p:txBody>
      </p:sp>
      <p:pic>
        <p:nvPicPr>
          <p:cNvPr id="76" name="Grafik 75" descr="Ein Bild, das Rechteck, Reihe, Design, Screenshot enthält.&#10;&#10;Beschreibung automatisch generiert.">
            <a:extLst>
              <a:ext uri="{FF2B5EF4-FFF2-40B4-BE49-F238E27FC236}">
                <a16:creationId xmlns:a16="http://schemas.microsoft.com/office/drawing/2014/main" id="{4946AED4-99DF-345D-2545-227442242906}"/>
              </a:ext>
            </a:extLst>
          </p:cNvPr>
          <p:cNvPicPr>
            <a:picLocks noChangeAspect="1"/>
          </p:cNvPicPr>
          <p:nvPr/>
        </p:nvPicPr>
        <p:blipFill>
          <a:blip r:embed="rId13"/>
          <a:stretch>
            <a:fillRect/>
          </a:stretch>
        </p:blipFill>
        <p:spPr>
          <a:xfrm flipH="1">
            <a:off x="3719129" y="5096532"/>
            <a:ext cx="452025" cy="452026"/>
          </a:xfrm>
          <a:prstGeom prst="rect">
            <a:avLst/>
          </a:prstGeom>
        </p:spPr>
      </p:pic>
    </p:spTree>
    <p:extLst>
      <p:ext uri="{BB962C8B-B14F-4D97-AF65-F5344CB8AC3E}">
        <p14:creationId xmlns:p14="http://schemas.microsoft.com/office/powerpoint/2010/main" val="3222382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b="1" dirty="0" err="1">
              <a:solidFill>
                <a:schemeClr val="tx1"/>
              </a:solidFill>
              <a:latin typeface="TKTypeMedium"/>
              <a:ea typeface="+mj-ea"/>
              <a:cs typeface="+mj-cs"/>
              <a:sym typeface="TKTypeMedium"/>
            </a:endParaRPr>
          </a:p>
        </p:txBody>
      </p:sp>
      <p:sp>
        <p:nvSpPr>
          <p:cNvPr id="3" name="Titel 2"/>
          <p:cNvSpPr>
            <a:spLocks noGrp="1"/>
          </p:cNvSpPr>
          <p:nvPr>
            <p:ph type="title"/>
          </p:nvPr>
        </p:nvSpPr>
        <p:spPr>
          <a:xfrm>
            <a:off x="179511" y="827123"/>
            <a:ext cx="8639999" cy="369332"/>
          </a:xfrm>
        </p:spPr>
        <p:txBody>
          <a:bodyPr/>
          <a:lstStyle/>
          <a:p>
            <a:pPr>
              <a:spcAft>
                <a:spcPct val="0"/>
              </a:spcAft>
            </a:pPr>
            <a:r>
              <a:rPr lang="en-US" sz="2400" b="1" dirty="0" err="1">
                <a:solidFill>
                  <a:srgbClr val="558ED5"/>
                </a:solidFill>
              </a:rPr>
              <a:t>Gesamtschulen</a:t>
            </a:r>
            <a:r>
              <a:rPr lang="en-US" sz="2400" b="1" dirty="0">
                <a:solidFill>
                  <a:srgbClr val="558ED5"/>
                </a:solidFill>
              </a:rPr>
              <a:t> </a:t>
            </a:r>
            <a:r>
              <a:rPr lang="en-US" sz="2400" b="1" dirty="0" err="1">
                <a:solidFill>
                  <a:srgbClr val="558ED5"/>
                </a:solidFill>
              </a:rPr>
              <a:t>als</a:t>
            </a:r>
            <a:r>
              <a:rPr lang="en-US" sz="2400" b="1" dirty="0">
                <a:solidFill>
                  <a:srgbClr val="558ED5"/>
                </a:solidFill>
              </a:rPr>
              <a:t> </a:t>
            </a:r>
            <a:r>
              <a:rPr lang="en-US" sz="2400" b="1" dirty="0" err="1">
                <a:solidFill>
                  <a:srgbClr val="558ED5"/>
                </a:solidFill>
              </a:rPr>
              <a:t>Schulform</a:t>
            </a:r>
            <a:r>
              <a:rPr lang="en-US" sz="2400" b="1" dirty="0">
                <a:solidFill>
                  <a:srgbClr val="558ED5"/>
                </a:solidFill>
              </a:rPr>
              <a:t>: </a:t>
            </a:r>
            <a:r>
              <a:rPr lang="en-US" sz="2400" b="1" dirty="0" err="1">
                <a:solidFill>
                  <a:srgbClr val="558ED5"/>
                </a:solidFill>
              </a:rPr>
              <a:t>Grundprinzipien</a:t>
            </a:r>
            <a:endParaRPr lang="de-DE" sz="2400" b="1" dirty="0">
              <a:solidFill>
                <a:srgbClr val="558ED5"/>
              </a:solidFill>
            </a:endParaRPr>
          </a:p>
        </p:txBody>
      </p:sp>
      <p:sp>
        <p:nvSpPr>
          <p:cNvPr id="7" name="Titel 2"/>
          <p:cNvSpPr txBox="1">
            <a:spLocks/>
          </p:cNvSpPr>
          <p:nvPr/>
        </p:nvSpPr>
        <p:spPr>
          <a:xfrm>
            <a:off x="179511" y="1214961"/>
            <a:ext cx="863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bg1"/>
                </a:solidFill>
                <a:latin typeface="+mn-lt"/>
                <a:ea typeface="+mj-ea"/>
                <a:cs typeface="+mj-cs"/>
              </a:defRPr>
            </a:lvl1pPr>
          </a:lstStyle>
          <a:p>
            <a:r>
              <a:rPr lang="en-US" i="1" dirty="0" err="1">
                <a:solidFill>
                  <a:srgbClr val="92D050"/>
                </a:solidFill>
              </a:rPr>
              <a:t>Neigungsfächer</a:t>
            </a:r>
            <a:r>
              <a:rPr lang="en-US" i="1" dirty="0">
                <a:solidFill>
                  <a:srgbClr val="92D050"/>
                </a:solidFill>
              </a:rPr>
              <a:t> ab Klasse 9</a:t>
            </a:r>
          </a:p>
        </p:txBody>
      </p:sp>
      <p:sp>
        <p:nvSpPr>
          <p:cNvPr id="14" name="AutoShape 72"/>
          <p:cNvSpPr>
            <a:spLocks noChangeArrowheads="1"/>
          </p:cNvSpPr>
          <p:nvPr/>
        </p:nvSpPr>
        <p:spPr bwMode="auto">
          <a:xfrm>
            <a:off x="0" y="6021288"/>
            <a:ext cx="8280399" cy="432048"/>
          </a:xfrm>
          <a:prstGeom prst="rect">
            <a:avLst/>
          </a:prstGeom>
          <a:solidFill>
            <a:srgbClr val="558ED5"/>
          </a:solidFill>
          <a:ln w="12700" algn="ctr">
            <a:noFill/>
            <a:round/>
            <a:headEnd/>
            <a:tailEnd/>
          </a:ln>
          <a:effectLst/>
        </p:spPr>
        <p:txBody>
          <a:bodyPr lIns="252000" anchor="ctr"/>
          <a:lstStyle/>
          <a:p>
            <a:pPr marL="1588" eaLnBrk="0" hangingPunct="0">
              <a:lnSpc>
                <a:spcPct val="90000"/>
              </a:lnSpc>
              <a:defRPr/>
            </a:pPr>
            <a:r>
              <a:rPr lang="de-DE" sz="1400" kern="0" dirty="0">
                <a:solidFill>
                  <a:srgbClr val="FFFFFF"/>
                </a:solidFill>
              </a:rPr>
              <a:t>Weitere individuelle Schullaufbahngestaltung, Französisch 3 Jahre und Klassenarbeiten</a:t>
            </a:r>
          </a:p>
        </p:txBody>
      </p:sp>
      <p:sp>
        <p:nvSpPr>
          <p:cNvPr id="23" name="Freeform 163"/>
          <p:cNvSpPr>
            <a:spLocks noChangeAspect="1" noEditPoints="1"/>
          </p:cNvSpPr>
          <p:nvPr/>
        </p:nvSpPr>
        <p:spPr bwMode="auto">
          <a:xfrm>
            <a:off x="4808849" y="1779844"/>
            <a:ext cx="616870" cy="616870"/>
          </a:xfrm>
          <a:custGeom>
            <a:avLst/>
            <a:gdLst>
              <a:gd name="T0" fmla="*/ 1134 w 3361"/>
              <a:gd name="T1" fmla="*/ 3130 h 3361"/>
              <a:gd name="T2" fmla="*/ 1870 w 3361"/>
              <a:gd name="T3" fmla="*/ 3218 h 3361"/>
              <a:gd name="T4" fmla="*/ 2546 w 3361"/>
              <a:gd name="T5" fmla="*/ 2964 h 3361"/>
              <a:gd name="T6" fmla="*/ 762 w 3361"/>
              <a:gd name="T7" fmla="*/ 2015 h 3361"/>
              <a:gd name="T8" fmla="*/ 483 w 3361"/>
              <a:gd name="T9" fmla="*/ 2662 h 3361"/>
              <a:gd name="T10" fmla="*/ 1864 w 3361"/>
              <a:gd name="T11" fmla="*/ 2471 h 3361"/>
              <a:gd name="T12" fmla="*/ 1549 w 3361"/>
              <a:gd name="T13" fmla="*/ 1906 h 3361"/>
              <a:gd name="T14" fmla="*/ 1201 w 3361"/>
              <a:gd name="T15" fmla="*/ 2664 h 3361"/>
              <a:gd name="T16" fmla="*/ 1107 w 3361"/>
              <a:gd name="T17" fmla="*/ 693 h 3361"/>
              <a:gd name="T18" fmla="*/ 863 w 3361"/>
              <a:gd name="T19" fmla="*/ 938 h 3361"/>
              <a:gd name="T20" fmla="*/ 952 w 3361"/>
              <a:gd name="T21" fmla="*/ 1279 h 3361"/>
              <a:gd name="T22" fmla="*/ 1295 w 3361"/>
              <a:gd name="T23" fmla="*/ 1370 h 3361"/>
              <a:gd name="T24" fmla="*/ 1539 w 3361"/>
              <a:gd name="T25" fmla="*/ 1124 h 3361"/>
              <a:gd name="T26" fmla="*/ 1449 w 3361"/>
              <a:gd name="T27" fmla="*/ 783 h 3361"/>
              <a:gd name="T28" fmla="*/ 1257 w 3361"/>
              <a:gd name="T29" fmla="*/ 553 h 3361"/>
              <a:gd name="T30" fmla="*/ 1607 w 3361"/>
              <a:gd name="T31" fmla="*/ 773 h 3361"/>
              <a:gd name="T32" fmla="*/ 1655 w 3361"/>
              <a:gd name="T33" fmla="*/ 1194 h 3361"/>
              <a:gd name="T34" fmla="*/ 1363 w 3361"/>
              <a:gd name="T35" fmla="*/ 1485 h 3361"/>
              <a:gd name="T36" fmla="*/ 943 w 3361"/>
              <a:gd name="T37" fmla="*/ 1438 h 3361"/>
              <a:gd name="T38" fmla="*/ 722 w 3361"/>
              <a:gd name="T39" fmla="*/ 1088 h 3361"/>
              <a:gd name="T40" fmla="*/ 861 w 3361"/>
              <a:gd name="T41" fmla="*/ 691 h 3361"/>
              <a:gd name="T42" fmla="*/ 2483 w 3361"/>
              <a:gd name="T43" fmla="*/ 357 h 3361"/>
              <a:gd name="T44" fmla="*/ 2450 w 3361"/>
              <a:gd name="T45" fmla="*/ 1107 h 3361"/>
              <a:gd name="T46" fmla="*/ 2507 w 3361"/>
              <a:gd name="T47" fmla="*/ 1455 h 3361"/>
              <a:gd name="T48" fmla="*/ 3157 w 3361"/>
              <a:gd name="T49" fmla="*/ 1215 h 3361"/>
              <a:gd name="T50" fmla="*/ 2773 w 3361"/>
              <a:gd name="T51" fmla="*/ 586 h 3361"/>
              <a:gd name="T52" fmla="*/ 1392 w 3361"/>
              <a:gd name="T53" fmla="*/ 158 h 3361"/>
              <a:gd name="T54" fmla="*/ 722 w 3361"/>
              <a:gd name="T55" fmla="*/ 463 h 3361"/>
              <a:gd name="T56" fmla="*/ 272 w 3361"/>
              <a:gd name="T57" fmla="*/ 1036 h 3361"/>
              <a:gd name="T58" fmla="*/ 133 w 3361"/>
              <a:gd name="T59" fmla="*/ 1773 h 3361"/>
              <a:gd name="T60" fmla="*/ 338 w 3361"/>
              <a:gd name="T61" fmla="*/ 2451 h 3361"/>
              <a:gd name="T62" fmla="*/ 652 w 3361"/>
              <a:gd name="T63" fmla="*/ 1942 h 3361"/>
              <a:gd name="T64" fmla="*/ 1081 w 3361"/>
              <a:gd name="T65" fmla="*/ 1619 h 3361"/>
              <a:gd name="T66" fmla="*/ 1538 w 3361"/>
              <a:gd name="T67" fmla="*/ 1721 h 3361"/>
              <a:gd name="T68" fmla="*/ 1899 w 3361"/>
              <a:gd name="T69" fmla="*/ 2202 h 3361"/>
              <a:gd name="T70" fmla="*/ 2988 w 3361"/>
              <a:gd name="T71" fmla="*/ 2511 h 3361"/>
              <a:gd name="T72" fmla="*/ 3227 w 3361"/>
              <a:gd name="T73" fmla="*/ 1781 h 3361"/>
              <a:gd name="T74" fmla="*/ 2449 w 3361"/>
              <a:gd name="T75" fmla="*/ 1581 h 3361"/>
              <a:gd name="T76" fmla="*/ 1907 w 3361"/>
              <a:gd name="T77" fmla="*/ 1229 h 3361"/>
              <a:gd name="T78" fmla="*/ 1846 w 3361"/>
              <a:gd name="T79" fmla="*/ 1140 h 3361"/>
              <a:gd name="T80" fmla="*/ 2030 w 3361"/>
              <a:gd name="T81" fmla="*/ 171 h 3361"/>
              <a:gd name="T82" fmla="*/ 1981 w 3361"/>
              <a:gd name="T83" fmla="*/ 27 h 3361"/>
              <a:gd name="T84" fmla="*/ 2532 w 3361"/>
              <a:gd name="T85" fmla="*/ 232 h 3361"/>
              <a:gd name="T86" fmla="*/ 3076 w 3361"/>
              <a:gd name="T87" fmla="*/ 747 h 3361"/>
              <a:gd name="T88" fmla="*/ 3346 w 3361"/>
              <a:gd name="T89" fmla="*/ 1458 h 3361"/>
              <a:gd name="T90" fmla="*/ 3358 w 3361"/>
              <a:gd name="T91" fmla="*/ 1783 h 3361"/>
              <a:gd name="T92" fmla="*/ 3128 w 3361"/>
              <a:gd name="T93" fmla="*/ 2533 h 3361"/>
              <a:gd name="T94" fmla="*/ 2750 w 3361"/>
              <a:gd name="T95" fmla="*/ 2975 h 3361"/>
              <a:gd name="T96" fmla="*/ 2074 w 3361"/>
              <a:gd name="T97" fmla="*/ 3314 h 3361"/>
              <a:gd name="T98" fmla="*/ 1287 w 3361"/>
              <a:gd name="T99" fmla="*/ 3314 h 3361"/>
              <a:gd name="T100" fmla="*/ 611 w 3361"/>
              <a:gd name="T101" fmla="*/ 2975 h 3361"/>
              <a:gd name="T102" fmla="*/ 356 w 3361"/>
              <a:gd name="T103" fmla="*/ 2714 h 3361"/>
              <a:gd name="T104" fmla="*/ 51 w 3361"/>
              <a:gd name="T105" fmla="*/ 2090 h 3361"/>
              <a:gd name="T106" fmla="*/ 48 w 3361"/>
              <a:gd name="T107" fmla="*/ 1282 h 3361"/>
              <a:gd name="T108" fmla="*/ 396 w 3361"/>
              <a:gd name="T109" fmla="*/ 599 h 3361"/>
              <a:gd name="T110" fmla="*/ 1005 w 3361"/>
              <a:gd name="T111" fmla="*/ 142 h 3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61" h="3361">
                <a:moveTo>
                  <a:pt x="606" y="2795"/>
                </a:moveTo>
                <a:lnTo>
                  <a:pt x="672" y="2855"/>
                </a:lnTo>
                <a:lnTo>
                  <a:pt x="741" y="2912"/>
                </a:lnTo>
                <a:lnTo>
                  <a:pt x="815" y="2964"/>
                </a:lnTo>
                <a:lnTo>
                  <a:pt x="890" y="3012"/>
                </a:lnTo>
                <a:lnTo>
                  <a:pt x="969" y="3055"/>
                </a:lnTo>
                <a:lnTo>
                  <a:pt x="1050" y="3095"/>
                </a:lnTo>
                <a:lnTo>
                  <a:pt x="1134" y="3130"/>
                </a:lnTo>
                <a:lnTo>
                  <a:pt x="1220" y="3160"/>
                </a:lnTo>
                <a:lnTo>
                  <a:pt x="1308" y="3185"/>
                </a:lnTo>
                <a:lnTo>
                  <a:pt x="1398" y="3204"/>
                </a:lnTo>
                <a:lnTo>
                  <a:pt x="1491" y="3218"/>
                </a:lnTo>
                <a:lnTo>
                  <a:pt x="1585" y="3228"/>
                </a:lnTo>
                <a:lnTo>
                  <a:pt x="1679" y="3231"/>
                </a:lnTo>
                <a:lnTo>
                  <a:pt x="1776" y="3228"/>
                </a:lnTo>
                <a:lnTo>
                  <a:pt x="1870" y="3218"/>
                </a:lnTo>
                <a:lnTo>
                  <a:pt x="1963" y="3204"/>
                </a:lnTo>
                <a:lnTo>
                  <a:pt x="2053" y="3185"/>
                </a:lnTo>
                <a:lnTo>
                  <a:pt x="2141" y="3160"/>
                </a:lnTo>
                <a:lnTo>
                  <a:pt x="2227" y="3130"/>
                </a:lnTo>
                <a:lnTo>
                  <a:pt x="2311" y="3095"/>
                </a:lnTo>
                <a:lnTo>
                  <a:pt x="2392" y="3055"/>
                </a:lnTo>
                <a:lnTo>
                  <a:pt x="2471" y="3012"/>
                </a:lnTo>
                <a:lnTo>
                  <a:pt x="2546" y="2964"/>
                </a:lnTo>
                <a:lnTo>
                  <a:pt x="2620" y="2912"/>
                </a:lnTo>
                <a:lnTo>
                  <a:pt x="2689" y="2855"/>
                </a:lnTo>
                <a:lnTo>
                  <a:pt x="2755" y="2795"/>
                </a:lnTo>
                <a:lnTo>
                  <a:pt x="606" y="2795"/>
                </a:lnTo>
                <a:close/>
                <a:moveTo>
                  <a:pt x="900" y="1862"/>
                </a:moveTo>
                <a:lnTo>
                  <a:pt x="852" y="1907"/>
                </a:lnTo>
                <a:lnTo>
                  <a:pt x="807" y="1958"/>
                </a:lnTo>
                <a:lnTo>
                  <a:pt x="762" y="2015"/>
                </a:lnTo>
                <a:lnTo>
                  <a:pt x="719" y="2077"/>
                </a:lnTo>
                <a:lnTo>
                  <a:pt x="678" y="2145"/>
                </a:lnTo>
                <a:lnTo>
                  <a:pt x="640" y="2219"/>
                </a:lnTo>
                <a:lnTo>
                  <a:pt x="604" y="2298"/>
                </a:lnTo>
                <a:lnTo>
                  <a:pt x="569" y="2382"/>
                </a:lnTo>
                <a:lnTo>
                  <a:pt x="538" y="2471"/>
                </a:lnTo>
                <a:lnTo>
                  <a:pt x="509" y="2565"/>
                </a:lnTo>
                <a:lnTo>
                  <a:pt x="483" y="2662"/>
                </a:lnTo>
                <a:lnTo>
                  <a:pt x="484" y="2664"/>
                </a:lnTo>
                <a:lnTo>
                  <a:pt x="1067" y="2664"/>
                </a:lnTo>
                <a:lnTo>
                  <a:pt x="900" y="1862"/>
                </a:lnTo>
                <a:close/>
                <a:moveTo>
                  <a:pt x="1501" y="1861"/>
                </a:moveTo>
                <a:lnTo>
                  <a:pt x="1334" y="2664"/>
                </a:lnTo>
                <a:lnTo>
                  <a:pt x="1920" y="2664"/>
                </a:lnTo>
                <a:lnTo>
                  <a:pt x="1893" y="2566"/>
                </a:lnTo>
                <a:lnTo>
                  <a:pt x="1864" y="2471"/>
                </a:lnTo>
                <a:lnTo>
                  <a:pt x="1832" y="2382"/>
                </a:lnTo>
                <a:lnTo>
                  <a:pt x="1799" y="2298"/>
                </a:lnTo>
                <a:lnTo>
                  <a:pt x="1762" y="2218"/>
                </a:lnTo>
                <a:lnTo>
                  <a:pt x="1723" y="2144"/>
                </a:lnTo>
                <a:lnTo>
                  <a:pt x="1683" y="2076"/>
                </a:lnTo>
                <a:lnTo>
                  <a:pt x="1640" y="2013"/>
                </a:lnTo>
                <a:lnTo>
                  <a:pt x="1595" y="1957"/>
                </a:lnTo>
                <a:lnTo>
                  <a:pt x="1549" y="1906"/>
                </a:lnTo>
                <a:lnTo>
                  <a:pt x="1501" y="1861"/>
                </a:lnTo>
                <a:close/>
                <a:moveTo>
                  <a:pt x="1201" y="1735"/>
                </a:moveTo>
                <a:lnTo>
                  <a:pt x="1154" y="1739"/>
                </a:lnTo>
                <a:lnTo>
                  <a:pt x="1108" y="1748"/>
                </a:lnTo>
                <a:lnTo>
                  <a:pt x="1062" y="1762"/>
                </a:lnTo>
                <a:lnTo>
                  <a:pt x="1017" y="1782"/>
                </a:lnTo>
                <a:lnTo>
                  <a:pt x="1201" y="2664"/>
                </a:lnTo>
                <a:lnTo>
                  <a:pt x="1201" y="2664"/>
                </a:lnTo>
                <a:lnTo>
                  <a:pt x="1384" y="1781"/>
                </a:lnTo>
                <a:lnTo>
                  <a:pt x="1339" y="1762"/>
                </a:lnTo>
                <a:lnTo>
                  <a:pt x="1293" y="1748"/>
                </a:lnTo>
                <a:lnTo>
                  <a:pt x="1248" y="1739"/>
                </a:lnTo>
                <a:lnTo>
                  <a:pt x="1201" y="1735"/>
                </a:lnTo>
                <a:close/>
                <a:moveTo>
                  <a:pt x="1201" y="680"/>
                </a:moveTo>
                <a:lnTo>
                  <a:pt x="1153" y="683"/>
                </a:lnTo>
                <a:lnTo>
                  <a:pt x="1107" y="693"/>
                </a:lnTo>
                <a:lnTo>
                  <a:pt x="1064" y="708"/>
                </a:lnTo>
                <a:lnTo>
                  <a:pt x="1024" y="728"/>
                </a:lnTo>
                <a:lnTo>
                  <a:pt x="986" y="754"/>
                </a:lnTo>
                <a:lnTo>
                  <a:pt x="952" y="783"/>
                </a:lnTo>
                <a:lnTo>
                  <a:pt x="923" y="817"/>
                </a:lnTo>
                <a:lnTo>
                  <a:pt x="897" y="854"/>
                </a:lnTo>
                <a:lnTo>
                  <a:pt x="877" y="894"/>
                </a:lnTo>
                <a:lnTo>
                  <a:pt x="863" y="938"/>
                </a:lnTo>
                <a:lnTo>
                  <a:pt x="852" y="984"/>
                </a:lnTo>
                <a:lnTo>
                  <a:pt x="849" y="1031"/>
                </a:lnTo>
                <a:lnTo>
                  <a:pt x="852" y="1079"/>
                </a:lnTo>
                <a:lnTo>
                  <a:pt x="863" y="1124"/>
                </a:lnTo>
                <a:lnTo>
                  <a:pt x="877" y="1168"/>
                </a:lnTo>
                <a:lnTo>
                  <a:pt x="897" y="1208"/>
                </a:lnTo>
                <a:lnTo>
                  <a:pt x="923" y="1246"/>
                </a:lnTo>
                <a:lnTo>
                  <a:pt x="952" y="1279"/>
                </a:lnTo>
                <a:lnTo>
                  <a:pt x="986" y="1309"/>
                </a:lnTo>
                <a:lnTo>
                  <a:pt x="1024" y="1334"/>
                </a:lnTo>
                <a:lnTo>
                  <a:pt x="1064" y="1355"/>
                </a:lnTo>
                <a:lnTo>
                  <a:pt x="1107" y="1370"/>
                </a:lnTo>
                <a:lnTo>
                  <a:pt x="1153" y="1379"/>
                </a:lnTo>
                <a:lnTo>
                  <a:pt x="1201" y="1382"/>
                </a:lnTo>
                <a:lnTo>
                  <a:pt x="1249" y="1379"/>
                </a:lnTo>
                <a:lnTo>
                  <a:pt x="1295" y="1370"/>
                </a:lnTo>
                <a:lnTo>
                  <a:pt x="1337" y="1355"/>
                </a:lnTo>
                <a:lnTo>
                  <a:pt x="1378" y="1334"/>
                </a:lnTo>
                <a:lnTo>
                  <a:pt x="1415" y="1309"/>
                </a:lnTo>
                <a:lnTo>
                  <a:pt x="1449" y="1279"/>
                </a:lnTo>
                <a:lnTo>
                  <a:pt x="1479" y="1246"/>
                </a:lnTo>
                <a:lnTo>
                  <a:pt x="1504" y="1208"/>
                </a:lnTo>
                <a:lnTo>
                  <a:pt x="1525" y="1168"/>
                </a:lnTo>
                <a:lnTo>
                  <a:pt x="1539" y="1124"/>
                </a:lnTo>
                <a:lnTo>
                  <a:pt x="1549" y="1079"/>
                </a:lnTo>
                <a:lnTo>
                  <a:pt x="1552" y="1031"/>
                </a:lnTo>
                <a:lnTo>
                  <a:pt x="1549" y="984"/>
                </a:lnTo>
                <a:lnTo>
                  <a:pt x="1539" y="938"/>
                </a:lnTo>
                <a:lnTo>
                  <a:pt x="1525" y="894"/>
                </a:lnTo>
                <a:lnTo>
                  <a:pt x="1504" y="854"/>
                </a:lnTo>
                <a:lnTo>
                  <a:pt x="1479" y="817"/>
                </a:lnTo>
                <a:lnTo>
                  <a:pt x="1449" y="783"/>
                </a:lnTo>
                <a:lnTo>
                  <a:pt x="1415" y="754"/>
                </a:lnTo>
                <a:lnTo>
                  <a:pt x="1378" y="728"/>
                </a:lnTo>
                <a:lnTo>
                  <a:pt x="1337" y="708"/>
                </a:lnTo>
                <a:lnTo>
                  <a:pt x="1295" y="693"/>
                </a:lnTo>
                <a:lnTo>
                  <a:pt x="1249" y="683"/>
                </a:lnTo>
                <a:lnTo>
                  <a:pt x="1201" y="680"/>
                </a:lnTo>
                <a:close/>
                <a:moveTo>
                  <a:pt x="1201" y="549"/>
                </a:moveTo>
                <a:lnTo>
                  <a:pt x="1257" y="553"/>
                </a:lnTo>
                <a:lnTo>
                  <a:pt x="1311" y="562"/>
                </a:lnTo>
                <a:lnTo>
                  <a:pt x="1363" y="577"/>
                </a:lnTo>
                <a:lnTo>
                  <a:pt x="1413" y="599"/>
                </a:lnTo>
                <a:lnTo>
                  <a:pt x="1458" y="624"/>
                </a:lnTo>
                <a:lnTo>
                  <a:pt x="1502" y="655"/>
                </a:lnTo>
                <a:lnTo>
                  <a:pt x="1541" y="691"/>
                </a:lnTo>
                <a:lnTo>
                  <a:pt x="1577" y="730"/>
                </a:lnTo>
                <a:lnTo>
                  <a:pt x="1607" y="773"/>
                </a:lnTo>
                <a:lnTo>
                  <a:pt x="1634" y="820"/>
                </a:lnTo>
                <a:lnTo>
                  <a:pt x="1655" y="869"/>
                </a:lnTo>
                <a:lnTo>
                  <a:pt x="1670" y="921"/>
                </a:lnTo>
                <a:lnTo>
                  <a:pt x="1679" y="975"/>
                </a:lnTo>
                <a:lnTo>
                  <a:pt x="1683" y="1031"/>
                </a:lnTo>
                <a:lnTo>
                  <a:pt x="1679" y="1088"/>
                </a:lnTo>
                <a:lnTo>
                  <a:pt x="1670" y="1142"/>
                </a:lnTo>
                <a:lnTo>
                  <a:pt x="1655" y="1194"/>
                </a:lnTo>
                <a:lnTo>
                  <a:pt x="1634" y="1243"/>
                </a:lnTo>
                <a:lnTo>
                  <a:pt x="1607" y="1289"/>
                </a:lnTo>
                <a:lnTo>
                  <a:pt x="1577" y="1332"/>
                </a:lnTo>
                <a:lnTo>
                  <a:pt x="1541" y="1372"/>
                </a:lnTo>
                <a:lnTo>
                  <a:pt x="1502" y="1408"/>
                </a:lnTo>
                <a:lnTo>
                  <a:pt x="1458" y="1438"/>
                </a:lnTo>
                <a:lnTo>
                  <a:pt x="1413" y="1465"/>
                </a:lnTo>
                <a:lnTo>
                  <a:pt x="1363" y="1485"/>
                </a:lnTo>
                <a:lnTo>
                  <a:pt x="1311" y="1500"/>
                </a:lnTo>
                <a:lnTo>
                  <a:pt x="1257" y="1510"/>
                </a:lnTo>
                <a:lnTo>
                  <a:pt x="1201" y="1513"/>
                </a:lnTo>
                <a:lnTo>
                  <a:pt x="1145" y="1510"/>
                </a:lnTo>
                <a:lnTo>
                  <a:pt x="1091" y="1500"/>
                </a:lnTo>
                <a:lnTo>
                  <a:pt x="1039" y="1485"/>
                </a:lnTo>
                <a:lnTo>
                  <a:pt x="989" y="1465"/>
                </a:lnTo>
                <a:lnTo>
                  <a:pt x="943" y="1438"/>
                </a:lnTo>
                <a:lnTo>
                  <a:pt x="899" y="1408"/>
                </a:lnTo>
                <a:lnTo>
                  <a:pt x="861" y="1372"/>
                </a:lnTo>
                <a:lnTo>
                  <a:pt x="825" y="1332"/>
                </a:lnTo>
                <a:lnTo>
                  <a:pt x="794" y="1289"/>
                </a:lnTo>
                <a:lnTo>
                  <a:pt x="768" y="1243"/>
                </a:lnTo>
                <a:lnTo>
                  <a:pt x="747" y="1194"/>
                </a:lnTo>
                <a:lnTo>
                  <a:pt x="731" y="1142"/>
                </a:lnTo>
                <a:lnTo>
                  <a:pt x="722" y="1088"/>
                </a:lnTo>
                <a:lnTo>
                  <a:pt x="719" y="1031"/>
                </a:lnTo>
                <a:lnTo>
                  <a:pt x="722" y="975"/>
                </a:lnTo>
                <a:lnTo>
                  <a:pt x="731" y="921"/>
                </a:lnTo>
                <a:lnTo>
                  <a:pt x="747" y="869"/>
                </a:lnTo>
                <a:lnTo>
                  <a:pt x="768" y="820"/>
                </a:lnTo>
                <a:lnTo>
                  <a:pt x="794" y="773"/>
                </a:lnTo>
                <a:lnTo>
                  <a:pt x="825" y="730"/>
                </a:lnTo>
                <a:lnTo>
                  <a:pt x="861" y="691"/>
                </a:lnTo>
                <a:lnTo>
                  <a:pt x="899" y="655"/>
                </a:lnTo>
                <a:lnTo>
                  <a:pt x="943" y="624"/>
                </a:lnTo>
                <a:lnTo>
                  <a:pt x="989" y="599"/>
                </a:lnTo>
                <a:lnTo>
                  <a:pt x="1039" y="577"/>
                </a:lnTo>
                <a:lnTo>
                  <a:pt x="1091" y="562"/>
                </a:lnTo>
                <a:lnTo>
                  <a:pt x="1145" y="553"/>
                </a:lnTo>
                <a:lnTo>
                  <a:pt x="1201" y="549"/>
                </a:lnTo>
                <a:close/>
                <a:moveTo>
                  <a:pt x="2483" y="357"/>
                </a:moveTo>
                <a:lnTo>
                  <a:pt x="2483" y="729"/>
                </a:lnTo>
                <a:lnTo>
                  <a:pt x="2480" y="748"/>
                </a:lnTo>
                <a:lnTo>
                  <a:pt x="2473" y="765"/>
                </a:lnTo>
                <a:lnTo>
                  <a:pt x="2460" y="779"/>
                </a:lnTo>
                <a:lnTo>
                  <a:pt x="2084" y="1098"/>
                </a:lnTo>
                <a:lnTo>
                  <a:pt x="2418" y="1098"/>
                </a:lnTo>
                <a:lnTo>
                  <a:pt x="2435" y="1100"/>
                </a:lnTo>
                <a:lnTo>
                  <a:pt x="2450" y="1107"/>
                </a:lnTo>
                <a:lnTo>
                  <a:pt x="2464" y="1117"/>
                </a:lnTo>
                <a:lnTo>
                  <a:pt x="2474" y="1131"/>
                </a:lnTo>
                <a:lnTo>
                  <a:pt x="2481" y="1146"/>
                </a:lnTo>
                <a:lnTo>
                  <a:pt x="2483" y="1163"/>
                </a:lnTo>
                <a:lnTo>
                  <a:pt x="2483" y="1389"/>
                </a:lnTo>
                <a:lnTo>
                  <a:pt x="2486" y="1414"/>
                </a:lnTo>
                <a:lnTo>
                  <a:pt x="2494" y="1436"/>
                </a:lnTo>
                <a:lnTo>
                  <a:pt x="2507" y="1455"/>
                </a:lnTo>
                <a:lnTo>
                  <a:pt x="2523" y="1472"/>
                </a:lnTo>
                <a:lnTo>
                  <a:pt x="2542" y="1484"/>
                </a:lnTo>
                <a:lnTo>
                  <a:pt x="2565" y="1492"/>
                </a:lnTo>
                <a:lnTo>
                  <a:pt x="2589" y="1495"/>
                </a:lnTo>
                <a:lnTo>
                  <a:pt x="3218" y="1495"/>
                </a:lnTo>
                <a:lnTo>
                  <a:pt x="3203" y="1399"/>
                </a:lnTo>
                <a:lnTo>
                  <a:pt x="3183" y="1306"/>
                </a:lnTo>
                <a:lnTo>
                  <a:pt x="3157" y="1215"/>
                </a:lnTo>
                <a:lnTo>
                  <a:pt x="3127" y="1125"/>
                </a:lnTo>
                <a:lnTo>
                  <a:pt x="3090" y="1040"/>
                </a:lnTo>
                <a:lnTo>
                  <a:pt x="3048" y="956"/>
                </a:lnTo>
                <a:lnTo>
                  <a:pt x="3003" y="875"/>
                </a:lnTo>
                <a:lnTo>
                  <a:pt x="2952" y="797"/>
                </a:lnTo>
                <a:lnTo>
                  <a:pt x="2897" y="723"/>
                </a:lnTo>
                <a:lnTo>
                  <a:pt x="2838" y="653"/>
                </a:lnTo>
                <a:lnTo>
                  <a:pt x="2773" y="586"/>
                </a:lnTo>
                <a:lnTo>
                  <a:pt x="2706" y="522"/>
                </a:lnTo>
                <a:lnTo>
                  <a:pt x="2635" y="463"/>
                </a:lnTo>
                <a:lnTo>
                  <a:pt x="2560" y="408"/>
                </a:lnTo>
                <a:lnTo>
                  <a:pt x="2483" y="357"/>
                </a:lnTo>
                <a:close/>
                <a:moveTo>
                  <a:pt x="1679" y="130"/>
                </a:moveTo>
                <a:lnTo>
                  <a:pt x="1583" y="133"/>
                </a:lnTo>
                <a:lnTo>
                  <a:pt x="1486" y="143"/>
                </a:lnTo>
                <a:lnTo>
                  <a:pt x="1392" y="158"/>
                </a:lnTo>
                <a:lnTo>
                  <a:pt x="1300" y="178"/>
                </a:lnTo>
                <a:lnTo>
                  <a:pt x="1209" y="204"/>
                </a:lnTo>
                <a:lnTo>
                  <a:pt x="1121" y="235"/>
                </a:lnTo>
                <a:lnTo>
                  <a:pt x="1036" y="272"/>
                </a:lnTo>
                <a:lnTo>
                  <a:pt x="952" y="313"/>
                </a:lnTo>
                <a:lnTo>
                  <a:pt x="873" y="358"/>
                </a:lnTo>
                <a:lnTo>
                  <a:pt x="795" y="408"/>
                </a:lnTo>
                <a:lnTo>
                  <a:pt x="722" y="463"/>
                </a:lnTo>
                <a:lnTo>
                  <a:pt x="652" y="522"/>
                </a:lnTo>
                <a:lnTo>
                  <a:pt x="586" y="586"/>
                </a:lnTo>
                <a:lnTo>
                  <a:pt x="522" y="652"/>
                </a:lnTo>
                <a:lnTo>
                  <a:pt x="463" y="722"/>
                </a:lnTo>
                <a:lnTo>
                  <a:pt x="408" y="795"/>
                </a:lnTo>
                <a:lnTo>
                  <a:pt x="359" y="873"/>
                </a:lnTo>
                <a:lnTo>
                  <a:pt x="313" y="952"/>
                </a:lnTo>
                <a:lnTo>
                  <a:pt x="272" y="1036"/>
                </a:lnTo>
                <a:lnTo>
                  <a:pt x="235" y="1121"/>
                </a:lnTo>
                <a:lnTo>
                  <a:pt x="204" y="1209"/>
                </a:lnTo>
                <a:lnTo>
                  <a:pt x="178" y="1300"/>
                </a:lnTo>
                <a:lnTo>
                  <a:pt x="158" y="1392"/>
                </a:lnTo>
                <a:lnTo>
                  <a:pt x="143" y="1486"/>
                </a:lnTo>
                <a:lnTo>
                  <a:pt x="133" y="1583"/>
                </a:lnTo>
                <a:lnTo>
                  <a:pt x="130" y="1680"/>
                </a:lnTo>
                <a:lnTo>
                  <a:pt x="133" y="1773"/>
                </a:lnTo>
                <a:lnTo>
                  <a:pt x="142" y="1865"/>
                </a:lnTo>
                <a:lnTo>
                  <a:pt x="155" y="1954"/>
                </a:lnTo>
                <a:lnTo>
                  <a:pt x="174" y="2043"/>
                </a:lnTo>
                <a:lnTo>
                  <a:pt x="198" y="2129"/>
                </a:lnTo>
                <a:lnTo>
                  <a:pt x="226" y="2213"/>
                </a:lnTo>
                <a:lnTo>
                  <a:pt x="259" y="2295"/>
                </a:lnTo>
                <a:lnTo>
                  <a:pt x="296" y="2374"/>
                </a:lnTo>
                <a:lnTo>
                  <a:pt x="338" y="2451"/>
                </a:lnTo>
                <a:lnTo>
                  <a:pt x="384" y="2526"/>
                </a:lnTo>
                <a:lnTo>
                  <a:pt x="414" y="2427"/>
                </a:lnTo>
                <a:lnTo>
                  <a:pt x="447" y="2333"/>
                </a:lnTo>
                <a:lnTo>
                  <a:pt x="484" y="2245"/>
                </a:lnTo>
                <a:lnTo>
                  <a:pt x="521" y="2161"/>
                </a:lnTo>
                <a:lnTo>
                  <a:pt x="563" y="2083"/>
                </a:lnTo>
                <a:lnTo>
                  <a:pt x="606" y="2009"/>
                </a:lnTo>
                <a:lnTo>
                  <a:pt x="652" y="1942"/>
                </a:lnTo>
                <a:lnTo>
                  <a:pt x="700" y="1880"/>
                </a:lnTo>
                <a:lnTo>
                  <a:pt x="749" y="1824"/>
                </a:lnTo>
                <a:lnTo>
                  <a:pt x="801" y="1774"/>
                </a:lnTo>
                <a:lnTo>
                  <a:pt x="853" y="1730"/>
                </a:lnTo>
                <a:lnTo>
                  <a:pt x="908" y="1693"/>
                </a:lnTo>
                <a:lnTo>
                  <a:pt x="965" y="1661"/>
                </a:lnTo>
                <a:lnTo>
                  <a:pt x="1022" y="1637"/>
                </a:lnTo>
                <a:lnTo>
                  <a:pt x="1081" y="1619"/>
                </a:lnTo>
                <a:lnTo>
                  <a:pt x="1140" y="1608"/>
                </a:lnTo>
                <a:lnTo>
                  <a:pt x="1201" y="1605"/>
                </a:lnTo>
                <a:lnTo>
                  <a:pt x="1260" y="1608"/>
                </a:lnTo>
                <a:lnTo>
                  <a:pt x="1318" y="1618"/>
                </a:lnTo>
                <a:lnTo>
                  <a:pt x="1375" y="1635"/>
                </a:lnTo>
                <a:lnTo>
                  <a:pt x="1430" y="1657"/>
                </a:lnTo>
                <a:lnTo>
                  <a:pt x="1485" y="1687"/>
                </a:lnTo>
                <a:lnTo>
                  <a:pt x="1538" y="1721"/>
                </a:lnTo>
                <a:lnTo>
                  <a:pt x="1589" y="1762"/>
                </a:lnTo>
                <a:lnTo>
                  <a:pt x="1639" y="1809"/>
                </a:lnTo>
                <a:lnTo>
                  <a:pt x="1688" y="1861"/>
                </a:lnTo>
                <a:lnTo>
                  <a:pt x="1733" y="1919"/>
                </a:lnTo>
                <a:lnTo>
                  <a:pt x="1778" y="1982"/>
                </a:lnTo>
                <a:lnTo>
                  <a:pt x="1821" y="2050"/>
                </a:lnTo>
                <a:lnTo>
                  <a:pt x="1862" y="2124"/>
                </a:lnTo>
                <a:lnTo>
                  <a:pt x="1899" y="2202"/>
                </a:lnTo>
                <a:lnTo>
                  <a:pt x="1935" y="2285"/>
                </a:lnTo>
                <a:lnTo>
                  <a:pt x="1969" y="2373"/>
                </a:lnTo>
                <a:lnTo>
                  <a:pt x="1999" y="2466"/>
                </a:lnTo>
                <a:lnTo>
                  <a:pt x="2028" y="2563"/>
                </a:lnTo>
                <a:lnTo>
                  <a:pt x="2053" y="2664"/>
                </a:lnTo>
                <a:lnTo>
                  <a:pt x="2877" y="2664"/>
                </a:lnTo>
                <a:lnTo>
                  <a:pt x="2935" y="2589"/>
                </a:lnTo>
                <a:lnTo>
                  <a:pt x="2988" y="2511"/>
                </a:lnTo>
                <a:lnTo>
                  <a:pt x="3037" y="2429"/>
                </a:lnTo>
                <a:lnTo>
                  <a:pt x="3081" y="2345"/>
                </a:lnTo>
                <a:lnTo>
                  <a:pt x="3119" y="2257"/>
                </a:lnTo>
                <a:lnTo>
                  <a:pt x="3152" y="2166"/>
                </a:lnTo>
                <a:lnTo>
                  <a:pt x="3180" y="2074"/>
                </a:lnTo>
                <a:lnTo>
                  <a:pt x="3201" y="1978"/>
                </a:lnTo>
                <a:lnTo>
                  <a:pt x="3217" y="1881"/>
                </a:lnTo>
                <a:lnTo>
                  <a:pt x="3227" y="1781"/>
                </a:lnTo>
                <a:lnTo>
                  <a:pt x="3231" y="1680"/>
                </a:lnTo>
                <a:lnTo>
                  <a:pt x="3229" y="1653"/>
                </a:lnTo>
                <a:lnTo>
                  <a:pt x="3228" y="1625"/>
                </a:lnTo>
                <a:lnTo>
                  <a:pt x="2589" y="1625"/>
                </a:lnTo>
                <a:lnTo>
                  <a:pt x="2550" y="1622"/>
                </a:lnTo>
                <a:lnTo>
                  <a:pt x="2515" y="1614"/>
                </a:lnTo>
                <a:lnTo>
                  <a:pt x="2480" y="1599"/>
                </a:lnTo>
                <a:lnTo>
                  <a:pt x="2449" y="1581"/>
                </a:lnTo>
                <a:lnTo>
                  <a:pt x="2422" y="1556"/>
                </a:lnTo>
                <a:lnTo>
                  <a:pt x="2398" y="1529"/>
                </a:lnTo>
                <a:lnTo>
                  <a:pt x="2378" y="1498"/>
                </a:lnTo>
                <a:lnTo>
                  <a:pt x="2364" y="1464"/>
                </a:lnTo>
                <a:lnTo>
                  <a:pt x="2356" y="1428"/>
                </a:lnTo>
                <a:lnTo>
                  <a:pt x="2352" y="1389"/>
                </a:lnTo>
                <a:lnTo>
                  <a:pt x="2352" y="1229"/>
                </a:lnTo>
                <a:lnTo>
                  <a:pt x="1907" y="1229"/>
                </a:lnTo>
                <a:lnTo>
                  <a:pt x="1890" y="1227"/>
                </a:lnTo>
                <a:lnTo>
                  <a:pt x="1876" y="1221"/>
                </a:lnTo>
                <a:lnTo>
                  <a:pt x="1863" y="1212"/>
                </a:lnTo>
                <a:lnTo>
                  <a:pt x="1853" y="1201"/>
                </a:lnTo>
                <a:lnTo>
                  <a:pt x="1844" y="1187"/>
                </a:lnTo>
                <a:lnTo>
                  <a:pt x="1841" y="1170"/>
                </a:lnTo>
                <a:lnTo>
                  <a:pt x="1841" y="1155"/>
                </a:lnTo>
                <a:lnTo>
                  <a:pt x="1846" y="1140"/>
                </a:lnTo>
                <a:lnTo>
                  <a:pt x="1853" y="1125"/>
                </a:lnTo>
                <a:lnTo>
                  <a:pt x="1864" y="1113"/>
                </a:lnTo>
                <a:lnTo>
                  <a:pt x="2352" y="699"/>
                </a:lnTo>
                <a:lnTo>
                  <a:pt x="2352" y="286"/>
                </a:lnTo>
                <a:lnTo>
                  <a:pt x="2274" y="252"/>
                </a:lnTo>
                <a:lnTo>
                  <a:pt x="2195" y="220"/>
                </a:lnTo>
                <a:lnTo>
                  <a:pt x="2113" y="193"/>
                </a:lnTo>
                <a:lnTo>
                  <a:pt x="2030" y="171"/>
                </a:lnTo>
                <a:lnTo>
                  <a:pt x="1945" y="154"/>
                </a:lnTo>
                <a:lnTo>
                  <a:pt x="1859" y="142"/>
                </a:lnTo>
                <a:lnTo>
                  <a:pt x="1770" y="133"/>
                </a:lnTo>
                <a:lnTo>
                  <a:pt x="1679" y="130"/>
                </a:lnTo>
                <a:close/>
                <a:moveTo>
                  <a:pt x="1679" y="0"/>
                </a:moveTo>
                <a:lnTo>
                  <a:pt x="1782" y="3"/>
                </a:lnTo>
                <a:lnTo>
                  <a:pt x="1882" y="12"/>
                </a:lnTo>
                <a:lnTo>
                  <a:pt x="1981" y="27"/>
                </a:lnTo>
                <a:lnTo>
                  <a:pt x="2077" y="48"/>
                </a:lnTo>
                <a:lnTo>
                  <a:pt x="2171" y="73"/>
                </a:lnTo>
                <a:lnTo>
                  <a:pt x="2263" y="105"/>
                </a:lnTo>
                <a:lnTo>
                  <a:pt x="2353" y="141"/>
                </a:lnTo>
                <a:lnTo>
                  <a:pt x="2440" y="182"/>
                </a:lnTo>
                <a:lnTo>
                  <a:pt x="2444" y="184"/>
                </a:lnTo>
                <a:lnTo>
                  <a:pt x="2448" y="186"/>
                </a:lnTo>
                <a:lnTo>
                  <a:pt x="2532" y="232"/>
                </a:lnTo>
                <a:lnTo>
                  <a:pt x="2612" y="283"/>
                </a:lnTo>
                <a:lnTo>
                  <a:pt x="2689" y="338"/>
                </a:lnTo>
                <a:lnTo>
                  <a:pt x="2763" y="396"/>
                </a:lnTo>
                <a:lnTo>
                  <a:pt x="2833" y="459"/>
                </a:lnTo>
                <a:lnTo>
                  <a:pt x="2900" y="526"/>
                </a:lnTo>
                <a:lnTo>
                  <a:pt x="2963" y="596"/>
                </a:lnTo>
                <a:lnTo>
                  <a:pt x="3021" y="669"/>
                </a:lnTo>
                <a:lnTo>
                  <a:pt x="3076" y="747"/>
                </a:lnTo>
                <a:lnTo>
                  <a:pt x="3127" y="826"/>
                </a:lnTo>
                <a:lnTo>
                  <a:pt x="3173" y="908"/>
                </a:lnTo>
                <a:lnTo>
                  <a:pt x="3214" y="995"/>
                </a:lnTo>
                <a:lnTo>
                  <a:pt x="3251" y="1083"/>
                </a:lnTo>
                <a:lnTo>
                  <a:pt x="3283" y="1173"/>
                </a:lnTo>
                <a:lnTo>
                  <a:pt x="3309" y="1267"/>
                </a:lnTo>
                <a:lnTo>
                  <a:pt x="3330" y="1362"/>
                </a:lnTo>
                <a:lnTo>
                  <a:pt x="3346" y="1458"/>
                </a:lnTo>
                <a:lnTo>
                  <a:pt x="3356" y="1557"/>
                </a:lnTo>
                <a:lnTo>
                  <a:pt x="3356" y="1559"/>
                </a:lnTo>
                <a:lnTo>
                  <a:pt x="3357" y="1560"/>
                </a:lnTo>
                <a:lnTo>
                  <a:pt x="3357" y="1561"/>
                </a:lnTo>
                <a:lnTo>
                  <a:pt x="3356" y="1562"/>
                </a:lnTo>
                <a:lnTo>
                  <a:pt x="3360" y="1621"/>
                </a:lnTo>
                <a:lnTo>
                  <a:pt x="3361" y="1680"/>
                </a:lnTo>
                <a:lnTo>
                  <a:pt x="3358" y="1783"/>
                </a:lnTo>
                <a:lnTo>
                  <a:pt x="3349" y="1885"/>
                </a:lnTo>
                <a:lnTo>
                  <a:pt x="3334" y="1984"/>
                </a:lnTo>
                <a:lnTo>
                  <a:pt x="3312" y="2082"/>
                </a:lnTo>
                <a:lnTo>
                  <a:pt x="3286" y="2178"/>
                </a:lnTo>
                <a:lnTo>
                  <a:pt x="3254" y="2270"/>
                </a:lnTo>
                <a:lnTo>
                  <a:pt x="3217" y="2361"/>
                </a:lnTo>
                <a:lnTo>
                  <a:pt x="3175" y="2448"/>
                </a:lnTo>
                <a:lnTo>
                  <a:pt x="3128" y="2533"/>
                </a:lnTo>
                <a:lnTo>
                  <a:pt x="3076" y="2615"/>
                </a:lnTo>
                <a:lnTo>
                  <a:pt x="3020" y="2694"/>
                </a:lnTo>
                <a:lnTo>
                  <a:pt x="2960" y="2769"/>
                </a:lnTo>
                <a:lnTo>
                  <a:pt x="2956" y="2773"/>
                </a:lnTo>
                <a:lnTo>
                  <a:pt x="2952" y="2777"/>
                </a:lnTo>
                <a:lnTo>
                  <a:pt x="2888" y="2848"/>
                </a:lnTo>
                <a:lnTo>
                  <a:pt x="2821" y="2913"/>
                </a:lnTo>
                <a:lnTo>
                  <a:pt x="2750" y="2975"/>
                </a:lnTo>
                <a:lnTo>
                  <a:pt x="2676" y="3033"/>
                </a:lnTo>
                <a:lnTo>
                  <a:pt x="2598" y="3087"/>
                </a:lnTo>
                <a:lnTo>
                  <a:pt x="2518" y="3137"/>
                </a:lnTo>
                <a:lnTo>
                  <a:pt x="2434" y="3183"/>
                </a:lnTo>
                <a:lnTo>
                  <a:pt x="2348" y="3222"/>
                </a:lnTo>
                <a:lnTo>
                  <a:pt x="2258" y="3258"/>
                </a:lnTo>
                <a:lnTo>
                  <a:pt x="2167" y="3289"/>
                </a:lnTo>
                <a:lnTo>
                  <a:pt x="2074" y="3314"/>
                </a:lnTo>
                <a:lnTo>
                  <a:pt x="1978" y="3335"/>
                </a:lnTo>
                <a:lnTo>
                  <a:pt x="1880" y="3349"/>
                </a:lnTo>
                <a:lnTo>
                  <a:pt x="1781" y="3358"/>
                </a:lnTo>
                <a:lnTo>
                  <a:pt x="1679" y="3361"/>
                </a:lnTo>
                <a:lnTo>
                  <a:pt x="1580" y="3358"/>
                </a:lnTo>
                <a:lnTo>
                  <a:pt x="1481" y="3349"/>
                </a:lnTo>
                <a:lnTo>
                  <a:pt x="1383" y="3335"/>
                </a:lnTo>
                <a:lnTo>
                  <a:pt x="1287" y="3314"/>
                </a:lnTo>
                <a:lnTo>
                  <a:pt x="1194" y="3289"/>
                </a:lnTo>
                <a:lnTo>
                  <a:pt x="1103" y="3258"/>
                </a:lnTo>
                <a:lnTo>
                  <a:pt x="1013" y="3222"/>
                </a:lnTo>
                <a:lnTo>
                  <a:pt x="927" y="3183"/>
                </a:lnTo>
                <a:lnTo>
                  <a:pt x="843" y="3137"/>
                </a:lnTo>
                <a:lnTo>
                  <a:pt x="763" y="3087"/>
                </a:lnTo>
                <a:lnTo>
                  <a:pt x="685" y="3033"/>
                </a:lnTo>
                <a:lnTo>
                  <a:pt x="611" y="2975"/>
                </a:lnTo>
                <a:lnTo>
                  <a:pt x="540" y="2913"/>
                </a:lnTo>
                <a:lnTo>
                  <a:pt x="473" y="2848"/>
                </a:lnTo>
                <a:lnTo>
                  <a:pt x="409" y="2777"/>
                </a:lnTo>
                <a:lnTo>
                  <a:pt x="405" y="2773"/>
                </a:lnTo>
                <a:lnTo>
                  <a:pt x="401" y="2769"/>
                </a:lnTo>
                <a:lnTo>
                  <a:pt x="362" y="2720"/>
                </a:lnTo>
                <a:lnTo>
                  <a:pt x="360" y="2717"/>
                </a:lnTo>
                <a:lnTo>
                  <a:pt x="356" y="2714"/>
                </a:lnTo>
                <a:lnTo>
                  <a:pt x="354" y="2711"/>
                </a:lnTo>
                <a:lnTo>
                  <a:pt x="296" y="2632"/>
                </a:lnTo>
                <a:lnTo>
                  <a:pt x="242" y="2548"/>
                </a:lnTo>
                <a:lnTo>
                  <a:pt x="194" y="2463"/>
                </a:lnTo>
                <a:lnTo>
                  <a:pt x="150" y="2373"/>
                </a:lnTo>
                <a:lnTo>
                  <a:pt x="111" y="2281"/>
                </a:lnTo>
                <a:lnTo>
                  <a:pt x="78" y="2187"/>
                </a:lnTo>
                <a:lnTo>
                  <a:pt x="51" y="2090"/>
                </a:lnTo>
                <a:lnTo>
                  <a:pt x="29" y="1990"/>
                </a:lnTo>
                <a:lnTo>
                  <a:pt x="13" y="1889"/>
                </a:lnTo>
                <a:lnTo>
                  <a:pt x="3" y="1785"/>
                </a:lnTo>
                <a:lnTo>
                  <a:pt x="0" y="1680"/>
                </a:lnTo>
                <a:lnTo>
                  <a:pt x="3" y="1579"/>
                </a:lnTo>
                <a:lnTo>
                  <a:pt x="12" y="1478"/>
                </a:lnTo>
                <a:lnTo>
                  <a:pt x="27" y="1379"/>
                </a:lnTo>
                <a:lnTo>
                  <a:pt x="48" y="1282"/>
                </a:lnTo>
                <a:lnTo>
                  <a:pt x="74" y="1188"/>
                </a:lnTo>
                <a:lnTo>
                  <a:pt x="105" y="1095"/>
                </a:lnTo>
                <a:lnTo>
                  <a:pt x="142" y="1005"/>
                </a:lnTo>
                <a:lnTo>
                  <a:pt x="183" y="918"/>
                </a:lnTo>
                <a:lnTo>
                  <a:pt x="230" y="833"/>
                </a:lnTo>
                <a:lnTo>
                  <a:pt x="281" y="752"/>
                </a:lnTo>
                <a:lnTo>
                  <a:pt x="336" y="673"/>
                </a:lnTo>
                <a:lnTo>
                  <a:pt x="396" y="599"/>
                </a:lnTo>
                <a:lnTo>
                  <a:pt x="459" y="527"/>
                </a:lnTo>
                <a:lnTo>
                  <a:pt x="527" y="459"/>
                </a:lnTo>
                <a:lnTo>
                  <a:pt x="599" y="396"/>
                </a:lnTo>
                <a:lnTo>
                  <a:pt x="673" y="336"/>
                </a:lnTo>
                <a:lnTo>
                  <a:pt x="752" y="281"/>
                </a:lnTo>
                <a:lnTo>
                  <a:pt x="833" y="230"/>
                </a:lnTo>
                <a:lnTo>
                  <a:pt x="918" y="183"/>
                </a:lnTo>
                <a:lnTo>
                  <a:pt x="1005" y="142"/>
                </a:lnTo>
                <a:lnTo>
                  <a:pt x="1095" y="105"/>
                </a:lnTo>
                <a:lnTo>
                  <a:pt x="1188" y="74"/>
                </a:lnTo>
                <a:lnTo>
                  <a:pt x="1282" y="48"/>
                </a:lnTo>
                <a:lnTo>
                  <a:pt x="1379" y="27"/>
                </a:lnTo>
                <a:lnTo>
                  <a:pt x="1478" y="12"/>
                </a:lnTo>
                <a:lnTo>
                  <a:pt x="1579" y="3"/>
                </a:lnTo>
                <a:lnTo>
                  <a:pt x="1679" y="0"/>
                </a:lnTo>
                <a:close/>
              </a:path>
            </a:pathLst>
          </a:custGeom>
          <a:solidFill>
            <a:schemeClr val="tx1">
              <a:lumMod val="50000"/>
            </a:schemeClr>
          </a:solidFill>
          <a:ln w="0">
            <a:solidFill>
              <a:schemeClr val="accent1">
                <a:lumMod val="1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pic>
        <p:nvPicPr>
          <p:cNvPr id="6" name="Grafik 5" descr="Ein Bild, das weiß, Silhouette enthält.&#10;&#10;Automatisch generierte Beschreibung">
            <a:extLst>
              <a:ext uri="{FF2B5EF4-FFF2-40B4-BE49-F238E27FC236}">
                <a16:creationId xmlns:a16="http://schemas.microsoft.com/office/drawing/2014/main" id="{230349DE-FFBF-F5A9-D98D-4FDE9F89DBD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6341" y="3488845"/>
            <a:ext cx="747476" cy="737910"/>
          </a:xfrm>
          <a:prstGeom prst="rect">
            <a:avLst/>
          </a:prstGeom>
        </p:spPr>
      </p:pic>
      <p:pic>
        <p:nvPicPr>
          <p:cNvPr id="12" name="Grafik 11" descr="Ein Bild, das Musikinstrument, Musik, Saiteninstrument, Zupfinstrumente enthält.&#10;&#10;Automatisch generierte Beschreibung">
            <a:extLst>
              <a:ext uri="{FF2B5EF4-FFF2-40B4-BE49-F238E27FC236}">
                <a16:creationId xmlns:a16="http://schemas.microsoft.com/office/drawing/2014/main" id="{C67470C2-7B8E-99D1-945C-D317E2DA96E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8573" y="2548322"/>
            <a:ext cx="874738" cy="832118"/>
          </a:xfrm>
          <a:prstGeom prst="rect">
            <a:avLst/>
          </a:prstGeom>
        </p:spPr>
      </p:pic>
      <p:pic>
        <p:nvPicPr>
          <p:cNvPr id="15" name="Grafik 14" descr="Ein Bild, das Symbol, Grafiken, Schrift, Clipart enthält.&#10;&#10;Automatisch generierte Beschreibung">
            <a:extLst>
              <a:ext uri="{FF2B5EF4-FFF2-40B4-BE49-F238E27FC236}">
                <a16:creationId xmlns:a16="http://schemas.microsoft.com/office/drawing/2014/main" id="{77CB06F0-7C01-3261-32E4-5D8BC56B956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4796524" y="2668419"/>
            <a:ext cx="640271" cy="537511"/>
          </a:xfrm>
          <a:prstGeom prst="rect">
            <a:avLst/>
          </a:prstGeom>
        </p:spPr>
      </p:pic>
      <p:pic>
        <p:nvPicPr>
          <p:cNvPr id="19" name="Grafik 18" descr="Ein Bild, das Clipart, Symbol, Kreativität, Design enthält.&#10;&#10;Automatisch generierte Beschreibung">
            <a:extLst>
              <a:ext uri="{FF2B5EF4-FFF2-40B4-BE49-F238E27FC236}">
                <a16:creationId xmlns:a16="http://schemas.microsoft.com/office/drawing/2014/main" id="{129FB479-C478-CB03-FE0C-F0985F44452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752232" y="3552116"/>
            <a:ext cx="845576" cy="600944"/>
          </a:xfrm>
          <a:prstGeom prst="rect">
            <a:avLst/>
          </a:prstGeom>
        </p:spPr>
      </p:pic>
      <p:pic>
        <p:nvPicPr>
          <p:cNvPr id="4" name="Grafik 3"/>
          <p:cNvPicPr>
            <a:picLocks noChangeAspect="1"/>
          </p:cNvPicPr>
          <p:nvPr/>
        </p:nvPicPr>
        <p:blipFill>
          <a:blip r:embed="rId12"/>
          <a:stretch>
            <a:fillRect/>
          </a:stretch>
        </p:blipFill>
        <p:spPr>
          <a:xfrm>
            <a:off x="395099" y="1551928"/>
            <a:ext cx="1039222" cy="992966"/>
          </a:xfrm>
          <a:prstGeom prst="rect">
            <a:avLst/>
          </a:prstGeom>
        </p:spPr>
      </p:pic>
      <p:grpSp>
        <p:nvGrpSpPr>
          <p:cNvPr id="16" name="Gruppieren 15"/>
          <p:cNvGrpSpPr/>
          <p:nvPr/>
        </p:nvGrpSpPr>
        <p:grpSpPr>
          <a:xfrm>
            <a:off x="1571827" y="3581510"/>
            <a:ext cx="1525887" cy="533148"/>
            <a:chOff x="0" y="2148523"/>
            <a:chExt cx="1303693" cy="408359"/>
          </a:xfrm>
        </p:grpSpPr>
        <p:sp>
          <p:nvSpPr>
            <p:cNvPr id="17" name="Richtungspfeil 16"/>
            <p:cNvSpPr/>
            <p:nvPr/>
          </p:nvSpPr>
          <p:spPr>
            <a:xfrm rot="10800000">
              <a:off x="0" y="2170123"/>
              <a:ext cx="1303693" cy="386759"/>
            </a:xfrm>
            <a:prstGeom prst="homePlate">
              <a:avLst/>
            </a:prstGeom>
            <a:solidFill>
              <a:srgbClr val="7B8B9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8" name="Richtungspfeil 4"/>
            <p:cNvSpPr txBox="1"/>
            <p:nvPr/>
          </p:nvSpPr>
          <p:spPr>
            <a:xfrm>
              <a:off x="82788" y="2148523"/>
              <a:ext cx="1207003" cy="386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817" tIns="53340" rIns="99568" bIns="53340" numCol="1" spcCol="1270" anchor="ctr" anchorCtr="0">
              <a:noAutofit/>
            </a:bodyPr>
            <a:lstStyle/>
            <a:p>
              <a:pPr lvl="0" algn="ctr" defTabSz="622300">
                <a:lnSpc>
                  <a:spcPct val="90000"/>
                </a:lnSpc>
                <a:spcBef>
                  <a:spcPct val="0"/>
                </a:spcBef>
                <a:spcAft>
                  <a:spcPct val="35000"/>
                </a:spcAft>
              </a:pPr>
              <a:r>
                <a:rPr lang="de-DE" sz="1400" kern="1200" dirty="0">
                  <a:latin typeface="TKTypeBold"/>
                </a:rPr>
                <a:t>Catering</a:t>
              </a:r>
              <a:endParaRPr lang="de-DE" sz="1400" kern="1200" dirty="0"/>
            </a:p>
          </p:txBody>
        </p:sp>
      </p:grpSp>
      <p:grpSp>
        <p:nvGrpSpPr>
          <p:cNvPr id="20" name="Gruppieren 19"/>
          <p:cNvGrpSpPr/>
          <p:nvPr/>
        </p:nvGrpSpPr>
        <p:grpSpPr>
          <a:xfrm>
            <a:off x="1570203" y="2691399"/>
            <a:ext cx="1573712" cy="555531"/>
            <a:chOff x="2642074" y="1680561"/>
            <a:chExt cx="1738113" cy="466331"/>
          </a:xfrm>
        </p:grpSpPr>
        <p:sp>
          <p:nvSpPr>
            <p:cNvPr id="21" name="Richtungspfeil 20"/>
            <p:cNvSpPr/>
            <p:nvPr/>
          </p:nvSpPr>
          <p:spPr>
            <a:xfrm rot="10800000">
              <a:off x="2642074" y="1680561"/>
              <a:ext cx="1738113" cy="466331"/>
            </a:xfrm>
            <a:prstGeom prst="homePlate">
              <a:avLst/>
            </a:prstGeom>
            <a:solidFill>
              <a:srgbClr val="558ED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2" name="Richtungspfeil 4"/>
            <p:cNvSpPr txBox="1"/>
            <p:nvPr/>
          </p:nvSpPr>
          <p:spPr>
            <a:xfrm>
              <a:off x="2682391" y="1680561"/>
              <a:ext cx="1621530" cy="4663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45757" tIns="53340" rIns="99568" bIns="53340" numCol="1" spcCol="1270" anchor="ctr" anchorCtr="0">
              <a:noAutofit/>
            </a:bodyPr>
            <a:lstStyle/>
            <a:p>
              <a:pPr lvl="0" algn="ctr" defTabSz="622300">
                <a:lnSpc>
                  <a:spcPct val="90000"/>
                </a:lnSpc>
                <a:spcBef>
                  <a:spcPct val="0"/>
                </a:spcBef>
                <a:spcAft>
                  <a:spcPct val="35000"/>
                </a:spcAft>
              </a:pPr>
              <a:r>
                <a:rPr lang="de-DE" sz="1400" kern="1200" dirty="0"/>
                <a:t>Band</a:t>
              </a:r>
            </a:p>
          </p:txBody>
        </p:sp>
      </p:grpSp>
      <p:pic>
        <p:nvPicPr>
          <p:cNvPr id="8" name="Grafik 7"/>
          <p:cNvPicPr>
            <a:picLocks noChangeAspect="1"/>
          </p:cNvPicPr>
          <p:nvPr/>
        </p:nvPicPr>
        <p:blipFill>
          <a:blip r:embed="rId13"/>
          <a:stretch>
            <a:fillRect/>
          </a:stretch>
        </p:blipFill>
        <p:spPr>
          <a:xfrm>
            <a:off x="477082" y="4225648"/>
            <a:ext cx="953877" cy="886315"/>
          </a:xfrm>
          <a:prstGeom prst="rect">
            <a:avLst/>
          </a:prstGeom>
        </p:spPr>
      </p:pic>
      <p:grpSp>
        <p:nvGrpSpPr>
          <p:cNvPr id="24" name="Gruppieren 23"/>
          <p:cNvGrpSpPr/>
          <p:nvPr/>
        </p:nvGrpSpPr>
        <p:grpSpPr>
          <a:xfrm>
            <a:off x="1571648" y="4440164"/>
            <a:ext cx="1525887" cy="504947"/>
            <a:chOff x="0" y="2170123"/>
            <a:chExt cx="1303693" cy="386759"/>
          </a:xfrm>
          <a:solidFill>
            <a:srgbClr val="92D050"/>
          </a:solidFill>
        </p:grpSpPr>
        <p:sp>
          <p:nvSpPr>
            <p:cNvPr id="25" name="Richtungspfeil 24"/>
            <p:cNvSpPr/>
            <p:nvPr/>
          </p:nvSpPr>
          <p:spPr>
            <a:xfrm rot="10800000">
              <a:off x="0" y="2170123"/>
              <a:ext cx="1303693" cy="386759"/>
            </a:xfrm>
            <a:prstGeom prst="homePlat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6" name="Richtungspfeil 4"/>
            <p:cNvSpPr txBox="1"/>
            <p:nvPr/>
          </p:nvSpPr>
          <p:spPr>
            <a:xfrm>
              <a:off x="184303" y="2210490"/>
              <a:ext cx="1053426" cy="30524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3817" tIns="53340" rIns="99568" bIns="53340" numCol="1" spcCol="1270" anchor="ctr" anchorCtr="0">
              <a:noAutofit/>
            </a:bodyPr>
            <a:lstStyle/>
            <a:p>
              <a:pPr lvl="0" algn="ctr" defTabSz="622300">
                <a:lnSpc>
                  <a:spcPct val="90000"/>
                </a:lnSpc>
                <a:spcBef>
                  <a:spcPct val="0"/>
                </a:spcBef>
                <a:spcAft>
                  <a:spcPct val="35000"/>
                </a:spcAft>
              </a:pPr>
              <a:r>
                <a:rPr lang="de-DE" sz="1400" kern="1200" dirty="0">
                  <a:latin typeface="TKTypeBold"/>
                </a:rPr>
                <a:t>Lego Education</a:t>
              </a:r>
              <a:endParaRPr lang="de-DE" sz="1400" kern="1200" dirty="0"/>
            </a:p>
          </p:txBody>
        </p:sp>
      </p:grpSp>
      <p:sp>
        <p:nvSpPr>
          <p:cNvPr id="27" name="Richtungspfeil 4"/>
          <p:cNvSpPr txBox="1"/>
          <p:nvPr/>
        </p:nvSpPr>
        <p:spPr>
          <a:xfrm>
            <a:off x="6839441" y="3342237"/>
            <a:ext cx="1412718" cy="5049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817" tIns="53340" rIns="99568" bIns="53340" numCol="1" spcCol="1270" anchor="ctr" anchorCtr="0">
            <a:noAutofit/>
          </a:bodyPr>
          <a:lstStyle/>
          <a:p>
            <a:pPr lvl="0" algn="ctr" defTabSz="622300">
              <a:lnSpc>
                <a:spcPct val="90000"/>
              </a:lnSpc>
              <a:spcBef>
                <a:spcPct val="0"/>
              </a:spcBef>
              <a:spcAft>
                <a:spcPct val="35000"/>
              </a:spcAft>
            </a:pPr>
            <a:r>
              <a:rPr lang="de-DE" sz="1400" kern="1200" dirty="0">
                <a:latin typeface="TKTypeBold"/>
              </a:rPr>
              <a:t>Catering</a:t>
            </a:r>
            <a:endParaRPr lang="de-DE" sz="1400" kern="1200" dirty="0"/>
          </a:p>
        </p:txBody>
      </p:sp>
      <p:grpSp>
        <p:nvGrpSpPr>
          <p:cNvPr id="28" name="Gruppieren 27"/>
          <p:cNvGrpSpPr/>
          <p:nvPr/>
        </p:nvGrpSpPr>
        <p:grpSpPr>
          <a:xfrm>
            <a:off x="5507143" y="2668714"/>
            <a:ext cx="1892444" cy="574660"/>
            <a:chOff x="2642074" y="1680561"/>
            <a:chExt cx="1738113" cy="466331"/>
          </a:xfrm>
        </p:grpSpPr>
        <p:sp>
          <p:nvSpPr>
            <p:cNvPr id="29" name="Richtungspfeil 28"/>
            <p:cNvSpPr/>
            <p:nvPr/>
          </p:nvSpPr>
          <p:spPr>
            <a:xfrm rot="10800000">
              <a:off x="2642074" y="1680561"/>
              <a:ext cx="1738113" cy="466331"/>
            </a:xfrm>
            <a:prstGeom prst="homePlate">
              <a:avLst/>
            </a:prstGeom>
            <a:solidFill>
              <a:srgbClr val="558ED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0" name="Richtungspfeil 4"/>
            <p:cNvSpPr txBox="1"/>
            <p:nvPr/>
          </p:nvSpPr>
          <p:spPr>
            <a:xfrm rot="21600000">
              <a:off x="2758657" y="1680561"/>
              <a:ext cx="1621530" cy="4663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45757" tIns="53340" rIns="99568" bIns="53340" numCol="1" spcCol="1270" anchor="ctr" anchorCtr="0">
              <a:noAutofit/>
            </a:bodyPr>
            <a:lstStyle/>
            <a:p>
              <a:pPr lvl="0" algn="ctr" defTabSz="622300">
                <a:lnSpc>
                  <a:spcPct val="90000"/>
                </a:lnSpc>
                <a:spcBef>
                  <a:spcPct val="0"/>
                </a:spcBef>
                <a:spcAft>
                  <a:spcPct val="35000"/>
                </a:spcAft>
              </a:pPr>
              <a:r>
                <a:rPr lang="de-DE" sz="1400" kern="1200" dirty="0"/>
                <a:t>Sporthelferinnen und Sporthelfer</a:t>
              </a:r>
            </a:p>
          </p:txBody>
        </p:sp>
      </p:grpSp>
      <p:grpSp>
        <p:nvGrpSpPr>
          <p:cNvPr id="32" name="Gruppieren 31"/>
          <p:cNvGrpSpPr/>
          <p:nvPr/>
        </p:nvGrpSpPr>
        <p:grpSpPr>
          <a:xfrm>
            <a:off x="5425719" y="1595265"/>
            <a:ext cx="1942869" cy="498235"/>
            <a:chOff x="0" y="2067925"/>
            <a:chExt cx="1303693" cy="488957"/>
          </a:xfrm>
        </p:grpSpPr>
        <p:sp>
          <p:nvSpPr>
            <p:cNvPr id="33" name="Richtungspfeil 32"/>
            <p:cNvSpPr/>
            <p:nvPr/>
          </p:nvSpPr>
          <p:spPr>
            <a:xfrm rot="10800000">
              <a:off x="0" y="2170123"/>
              <a:ext cx="1303693" cy="386759"/>
            </a:xfrm>
            <a:prstGeom prst="homePlate">
              <a:avLst/>
            </a:prstGeom>
            <a:solidFill>
              <a:srgbClr val="7B8B9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4" name="Richtungspfeil 4"/>
            <p:cNvSpPr txBox="1"/>
            <p:nvPr/>
          </p:nvSpPr>
          <p:spPr>
            <a:xfrm>
              <a:off x="77061" y="2067925"/>
              <a:ext cx="1207003" cy="386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817" tIns="53340" rIns="99568" bIns="53340" numCol="1" spcCol="1270" anchor="ctr" anchorCtr="0">
              <a:noAutofit/>
            </a:bodyPr>
            <a:lstStyle/>
            <a:p>
              <a:pPr lvl="0" algn="ctr" defTabSz="622300">
                <a:lnSpc>
                  <a:spcPct val="90000"/>
                </a:lnSpc>
                <a:spcBef>
                  <a:spcPct val="0"/>
                </a:spcBef>
                <a:spcAft>
                  <a:spcPct val="35000"/>
                </a:spcAft>
              </a:pPr>
              <a:endParaRPr lang="de-DE" sz="1400" kern="1200" dirty="0">
                <a:latin typeface="TKTypeBold"/>
              </a:endParaRPr>
            </a:p>
            <a:p>
              <a:pPr lvl="0" algn="ctr" defTabSz="622300">
                <a:lnSpc>
                  <a:spcPct val="90000"/>
                </a:lnSpc>
                <a:spcBef>
                  <a:spcPct val="0"/>
                </a:spcBef>
                <a:spcAft>
                  <a:spcPct val="35000"/>
                </a:spcAft>
              </a:pPr>
              <a:r>
                <a:rPr lang="de-DE" sz="1400" kern="1200" dirty="0">
                  <a:latin typeface="TKTypeBold"/>
                </a:rPr>
                <a:t>Französisch</a:t>
              </a:r>
              <a:endParaRPr lang="de-DE" sz="1400" kern="1200" dirty="0"/>
            </a:p>
          </p:txBody>
        </p:sp>
      </p:grpSp>
      <p:sp>
        <p:nvSpPr>
          <p:cNvPr id="36" name="Richtungspfeil 35"/>
          <p:cNvSpPr/>
          <p:nvPr/>
        </p:nvSpPr>
        <p:spPr>
          <a:xfrm rot="10800000">
            <a:off x="5667870" y="3601361"/>
            <a:ext cx="1730992" cy="553264"/>
          </a:xfrm>
          <a:prstGeom prst="homePlat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9" name="Richtungspfeil 38"/>
          <p:cNvSpPr/>
          <p:nvPr/>
        </p:nvSpPr>
        <p:spPr>
          <a:xfrm rot="10800000">
            <a:off x="1571918" y="1838431"/>
            <a:ext cx="1564146" cy="504947"/>
          </a:xfrm>
          <a:prstGeom prst="homePlat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pic>
        <p:nvPicPr>
          <p:cNvPr id="13" name="Grafik 12"/>
          <p:cNvPicPr>
            <a:picLocks noChangeAspect="1"/>
          </p:cNvPicPr>
          <p:nvPr/>
        </p:nvPicPr>
        <p:blipFill>
          <a:blip r:embed="rId14"/>
          <a:stretch>
            <a:fillRect/>
          </a:stretch>
        </p:blipFill>
        <p:spPr>
          <a:xfrm>
            <a:off x="4636712" y="4440454"/>
            <a:ext cx="962970" cy="663866"/>
          </a:xfrm>
          <a:prstGeom prst="rect">
            <a:avLst/>
          </a:prstGeom>
        </p:spPr>
      </p:pic>
      <p:grpSp>
        <p:nvGrpSpPr>
          <p:cNvPr id="42" name="Gruppieren 41"/>
          <p:cNvGrpSpPr/>
          <p:nvPr/>
        </p:nvGrpSpPr>
        <p:grpSpPr>
          <a:xfrm>
            <a:off x="5726272" y="4539311"/>
            <a:ext cx="1733266" cy="505441"/>
            <a:chOff x="0" y="2170123"/>
            <a:chExt cx="1303693" cy="387137"/>
          </a:xfrm>
        </p:grpSpPr>
        <p:sp>
          <p:nvSpPr>
            <p:cNvPr id="43" name="Richtungspfeil 42"/>
            <p:cNvSpPr/>
            <p:nvPr/>
          </p:nvSpPr>
          <p:spPr>
            <a:xfrm rot="10800000">
              <a:off x="0" y="2170123"/>
              <a:ext cx="1303693" cy="386759"/>
            </a:xfrm>
            <a:prstGeom prst="homePlate">
              <a:avLst/>
            </a:prstGeom>
            <a:solidFill>
              <a:srgbClr val="7B8B9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4" name="Richtungspfeil 4"/>
            <p:cNvSpPr txBox="1"/>
            <p:nvPr/>
          </p:nvSpPr>
          <p:spPr>
            <a:xfrm>
              <a:off x="54010" y="2170501"/>
              <a:ext cx="1207003" cy="386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817" tIns="53340" rIns="99568" bIns="53340" numCol="1" spcCol="1270" anchor="ctr" anchorCtr="0">
              <a:noAutofit/>
            </a:bodyPr>
            <a:lstStyle/>
            <a:p>
              <a:pPr lvl="0" algn="ctr" defTabSz="622300">
                <a:lnSpc>
                  <a:spcPct val="90000"/>
                </a:lnSpc>
                <a:spcBef>
                  <a:spcPct val="0"/>
                </a:spcBef>
                <a:spcAft>
                  <a:spcPct val="35000"/>
                </a:spcAft>
              </a:pPr>
              <a:r>
                <a:rPr lang="de-DE" sz="1400" kern="1200" dirty="0">
                  <a:latin typeface="TKTypeBold"/>
                </a:rPr>
                <a:t>Theater</a:t>
              </a:r>
              <a:endParaRPr lang="de-DE" sz="1400" kern="1200" dirty="0"/>
            </a:p>
          </p:txBody>
        </p:sp>
      </p:grpSp>
      <p:pic>
        <p:nvPicPr>
          <p:cNvPr id="41" name="Grafik 40"/>
          <p:cNvPicPr>
            <a:picLocks noChangeAspect="1"/>
          </p:cNvPicPr>
          <p:nvPr/>
        </p:nvPicPr>
        <p:blipFill>
          <a:blip r:embed="rId15"/>
          <a:stretch>
            <a:fillRect/>
          </a:stretch>
        </p:blipFill>
        <p:spPr>
          <a:xfrm>
            <a:off x="4642983" y="5311302"/>
            <a:ext cx="949371" cy="669921"/>
          </a:xfrm>
          <a:prstGeom prst="rect">
            <a:avLst/>
          </a:prstGeom>
        </p:spPr>
      </p:pic>
      <p:sp>
        <p:nvSpPr>
          <p:cNvPr id="47" name="Richtungspfeil 46"/>
          <p:cNvSpPr/>
          <p:nvPr/>
        </p:nvSpPr>
        <p:spPr>
          <a:xfrm rot="10800000">
            <a:off x="5728088" y="5356297"/>
            <a:ext cx="1851102" cy="495383"/>
          </a:xfrm>
          <a:prstGeom prst="homePlate">
            <a:avLst/>
          </a:prstGeom>
          <a:solidFill>
            <a:srgbClr val="558ED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pic>
        <p:nvPicPr>
          <p:cNvPr id="45" name="Grafik 44"/>
          <p:cNvPicPr>
            <a:picLocks noChangeAspect="1"/>
          </p:cNvPicPr>
          <p:nvPr/>
        </p:nvPicPr>
        <p:blipFill>
          <a:blip r:embed="rId16"/>
          <a:stretch>
            <a:fillRect/>
          </a:stretch>
        </p:blipFill>
        <p:spPr>
          <a:xfrm>
            <a:off x="478759" y="5153843"/>
            <a:ext cx="882732" cy="821365"/>
          </a:xfrm>
          <a:prstGeom prst="rect">
            <a:avLst/>
          </a:prstGeom>
        </p:spPr>
      </p:pic>
      <p:sp>
        <p:nvSpPr>
          <p:cNvPr id="51" name="Richtungspfeil 50"/>
          <p:cNvSpPr/>
          <p:nvPr/>
        </p:nvSpPr>
        <p:spPr>
          <a:xfrm rot="10800000">
            <a:off x="1627476" y="5310628"/>
            <a:ext cx="1456740" cy="485816"/>
          </a:xfrm>
          <a:prstGeom prst="homePlate">
            <a:avLst/>
          </a:prstGeom>
          <a:solidFill>
            <a:schemeClr val="tx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TextBox 8">
            <a:extLst>
              <a:ext uri="{FF2B5EF4-FFF2-40B4-BE49-F238E27FC236}">
                <a16:creationId xmlns:a16="http://schemas.microsoft.com/office/drawing/2014/main" id="{F51C0135-0302-B8DD-194A-B63DEBCF7A8F}"/>
              </a:ext>
            </a:extLst>
          </p:cNvPr>
          <p:cNvSpPr txBox="1"/>
          <p:nvPr/>
        </p:nvSpPr>
        <p:spPr>
          <a:xfrm>
            <a:off x="2110006" y="1995229"/>
            <a:ext cx="638933" cy="1938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Bef>
                <a:spcPts val="600"/>
              </a:spcBef>
              <a:spcAft>
                <a:spcPts val="0"/>
              </a:spcAft>
            </a:pPr>
            <a:r>
              <a:rPr lang="de-DE" sz="1400" dirty="0">
                <a:solidFill>
                  <a:srgbClr val="FFFFFF"/>
                </a:solidFill>
              </a:rPr>
              <a:t>FabLab</a:t>
            </a:r>
            <a:endParaRPr lang="en-US" sz="1400" dirty="0"/>
          </a:p>
        </p:txBody>
      </p:sp>
      <p:sp>
        <p:nvSpPr>
          <p:cNvPr id="31" name="TextBox 30">
            <a:extLst>
              <a:ext uri="{FF2B5EF4-FFF2-40B4-BE49-F238E27FC236}">
                <a16:creationId xmlns:a16="http://schemas.microsoft.com/office/drawing/2014/main" id="{70ECB6AE-E2A1-2E2E-B8C4-23B441814F6B}"/>
              </a:ext>
            </a:extLst>
          </p:cNvPr>
          <p:cNvSpPr txBox="1"/>
          <p:nvPr/>
        </p:nvSpPr>
        <p:spPr>
          <a:xfrm>
            <a:off x="2004792" y="5371622"/>
            <a:ext cx="1088481" cy="1938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Bef>
                <a:spcPts val="600"/>
              </a:spcBef>
            </a:pPr>
            <a:r>
              <a:rPr lang="de-DE" sz="1400" dirty="0">
                <a:solidFill>
                  <a:srgbClr val="FFFFFF"/>
                </a:solidFill>
              </a:rPr>
              <a:t>Achtsamkeit</a:t>
            </a:r>
            <a:endParaRPr lang="en-US" dirty="0"/>
          </a:p>
        </p:txBody>
      </p:sp>
      <p:sp>
        <p:nvSpPr>
          <p:cNvPr id="49" name="TextBox 48">
            <a:extLst>
              <a:ext uri="{FF2B5EF4-FFF2-40B4-BE49-F238E27FC236}">
                <a16:creationId xmlns:a16="http://schemas.microsoft.com/office/drawing/2014/main" id="{FFB264F5-D78A-92F6-5E41-421E40A45F6C}"/>
              </a:ext>
            </a:extLst>
          </p:cNvPr>
          <p:cNvSpPr txBox="1"/>
          <p:nvPr/>
        </p:nvSpPr>
        <p:spPr>
          <a:xfrm>
            <a:off x="6141311" y="3783934"/>
            <a:ext cx="1254184" cy="1938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Bef>
                <a:spcPts val="600"/>
              </a:spcBef>
              <a:spcAft>
                <a:spcPts val="0"/>
              </a:spcAft>
            </a:pPr>
            <a:r>
              <a:rPr lang="de-DE" sz="1400" dirty="0">
                <a:solidFill>
                  <a:srgbClr val="FFFFFF"/>
                </a:solidFill>
              </a:rPr>
              <a:t>Patenprojekt</a:t>
            </a:r>
            <a:endParaRPr lang="en-US" sz="1400" dirty="0"/>
          </a:p>
        </p:txBody>
      </p:sp>
      <p:sp>
        <p:nvSpPr>
          <p:cNvPr id="53" name="TextBox 52">
            <a:extLst>
              <a:ext uri="{FF2B5EF4-FFF2-40B4-BE49-F238E27FC236}">
                <a16:creationId xmlns:a16="http://schemas.microsoft.com/office/drawing/2014/main" id="{D223ED8E-0FE1-84A5-2E3E-68B49F31F8ED}"/>
              </a:ext>
            </a:extLst>
          </p:cNvPr>
          <p:cNvSpPr txBox="1"/>
          <p:nvPr/>
        </p:nvSpPr>
        <p:spPr>
          <a:xfrm>
            <a:off x="5897688" y="5543788"/>
            <a:ext cx="1681502" cy="18004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Bef>
                <a:spcPts val="600"/>
              </a:spcBef>
              <a:spcAft>
                <a:spcPts val="0"/>
              </a:spcAft>
            </a:pPr>
            <a:r>
              <a:rPr lang="de-DE" sz="1300" dirty="0">
                <a:solidFill>
                  <a:srgbClr val="FFFFFF"/>
                </a:solidFill>
              </a:rPr>
              <a:t>Veranstaltungstechnik</a:t>
            </a:r>
            <a:endParaRPr lang="en-US" sz="1300" dirty="0"/>
          </a:p>
        </p:txBody>
      </p:sp>
      <p:grpSp>
        <p:nvGrpSpPr>
          <p:cNvPr id="46" name="Gruppieren 45"/>
          <p:cNvGrpSpPr/>
          <p:nvPr/>
        </p:nvGrpSpPr>
        <p:grpSpPr>
          <a:xfrm>
            <a:off x="5436795" y="1976292"/>
            <a:ext cx="2084193" cy="554252"/>
            <a:chOff x="0" y="2067924"/>
            <a:chExt cx="1303693" cy="488958"/>
          </a:xfrm>
        </p:grpSpPr>
        <p:sp>
          <p:nvSpPr>
            <p:cNvPr id="48" name="Richtungspfeil 47"/>
            <p:cNvSpPr/>
            <p:nvPr/>
          </p:nvSpPr>
          <p:spPr>
            <a:xfrm rot="10800000">
              <a:off x="0" y="2170123"/>
              <a:ext cx="1303693" cy="386759"/>
            </a:xfrm>
            <a:prstGeom prst="homePlate">
              <a:avLst/>
            </a:prstGeom>
            <a:solidFill>
              <a:srgbClr val="7B8B9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0" name="Richtungspfeil 4"/>
            <p:cNvSpPr txBox="1"/>
            <p:nvPr/>
          </p:nvSpPr>
          <p:spPr>
            <a:xfrm>
              <a:off x="77061" y="2067924"/>
              <a:ext cx="1131304" cy="39608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817" tIns="53340" rIns="99568" bIns="53340" numCol="1" spcCol="1270" anchor="ctr" anchorCtr="0">
              <a:noAutofit/>
            </a:bodyPr>
            <a:lstStyle/>
            <a:p>
              <a:pPr lvl="0" algn="ctr" defTabSz="622300">
                <a:lnSpc>
                  <a:spcPct val="90000"/>
                </a:lnSpc>
                <a:spcBef>
                  <a:spcPct val="0"/>
                </a:spcBef>
                <a:spcAft>
                  <a:spcPct val="35000"/>
                </a:spcAft>
              </a:pPr>
              <a:endParaRPr lang="de-DE" sz="1400" kern="1200" dirty="0">
                <a:latin typeface="TKTypeBold"/>
              </a:endParaRPr>
            </a:p>
            <a:p>
              <a:pPr lvl="0" algn="ctr" defTabSz="622300">
                <a:lnSpc>
                  <a:spcPct val="90000"/>
                </a:lnSpc>
                <a:spcBef>
                  <a:spcPct val="0"/>
                </a:spcBef>
                <a:spcAft>
                  <a:spcPct val="35000"/>
                </a:spcAft>
              </a:pPr>
              <a:r>
                <a:rPr lang="de-DE" sz="1400" dirty="0">
                  <a:latin typeface="TKTypeBold"/>
                </a:rPr>
                <a:t>Spanisch-Austausch</a:t>
              </a:r>
              <a:endParaRPr lang="de-DE" sz="1400" kern="1200" dirty="0"/>
            </a:p>
          </p:txBody>
        </p:sp>
      </p:grpSp>
    </p:spTree>
    <p:extLst>
      <p:ext uri="{BB962C8B-B14F-4D97-AF65-F5344CB8AC3E}">
        <p14:creationId xmlns:p14="http://schemas.microsoft.com/office/powerpoint/2010/main" val="21778438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03e03112-3f35-4972-a433-d1af116995fe"/>
  <p:tag name="EE4P_AGENDAWIZARD" val="&lt;ee4p&gt;&lt;layouts&gt;&lt;layout name=&quot;tk numbered&quot; id=&quot;53_2&quot;&gt;&lt;standard&gt;&lt;textframe horizontalAnchor=&quot;1&quot; marginBottom=&quot;4.4&quot; marginLeft=&quot;0&quot; marginRight=&quot;0&quot; marginTop=&quot;4.4&quot; orientation=&quot;1&quot; verticalAnchor=&quot;1&quot; /&gt;&lt;font name=&quot;TKTypeMedium&quot; bold=&quot;0&quot; italic=&quot;0&quot; color=&quot;#4B5564&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40.000001&quot; /&gt;&lt;column field=&quot;topic&quot; label=&quot;Topic&quot; leftSpacing=&quot;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20&quot; dock=&quot;2&quot; /&gt;&lt;column field=&quot;pageno&quot; label=&quot;Page No.&quot; visible=&quot;1&quot; checked=&quot;0&quot; leftSpacing=&quot;20&quot; rightSpacing=&quot;20&quot; dock=&quot;2&quot; /&gt;&lt;/columns&gt;&lt;position left=&quot;19.75&quot; top=&quot;122.582&quot; width=&quot;680.3149&quot; height=&quot;357.205&quot; /&gt;&lt;subtitle&gt;&lt;position left=&quot;19.75&quot; top=&quot;73.29504&quot; width=&quot;680.3149&quot; height=&quot;21.81095&quot; /&gt;&lt;font name=&quot;TKTypeMedium&quot; size=&quot;18&quot; bold=&quot;0&quot; italic=&quot;0&quot; underlineStyle=&quot;0&quot; color=&quot;#4B5564&quot; /&gt;&lt;textframe horizontalAnchor=&quot;1&quot; verticalAnchor=&quot;1&quot; orientation=&quot;1&quot; wordWrap=&quot;1&quot; autoSize=&quot;1&quot; marginLeft=&quot;0&quot; marginRight=&quot;0&quot; marginTop=&quot;0&quot; marginBottom=&quot;0&quot; /&gt;&lt;paragraphformat alignment=&quot;1&quot; lineRuleBefore=&quot;1&quot; lineRuleWithin=&quot;1&quot; lineRuleAfter=&quot;0&quot; spaceBefore=&quot;0&quot; spaceWithin=&quot;1&quot; spaceAfter=&quot;0&quot; /&gt;&lt;/subtitle&gt;&lt;settings allowedSizingModeIds=&quot;1|2&quot; allowedFontSizes=&quot;8|9|10|10.5|11|12|14|15|16|18&quot; allowedTimeFormatIds=&quot;1|2|3&quot; slideLayout=&quot;11&quot; customLayoutName=&quot;tk_headline|tk_Überschrift&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15&quot; bottomMinSpacing=&quot;0&quot; bottomMaxSpacing=&quot;0&quot;&gt;&lt;element field=&quot;itemno&quot; type=&quot;autoshape&quot; autoShapeType=&quot;1&quot;&gt;&lt;textframe verticalAnchor=&quot;3&quot; /&gt;&lt;paragraphformat alignment=&quot;1&quot; /&gt;&lt;/element&gt;&lt;element field=&quot;topic&quot; type=&quot;autoshape&quot; autoShapeType=&quot;1&quot;&gt;&lt;paragraphformat alignment=&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15&quot; bottomMinSpacing=&quot;0&quot; bottomMaxSpacing=&quot;0&quot;&gt;&lt;element type=&quot;autoshape&quot; autoShapeType=&quot;1&quot; value=&quot;&quot;&gt;&lt;position left=&quot;-19.75&quot; top=&quot;0&quot; width=&quot;agendaWidth+19.75&quot; height=&quot;itemHeight&quot; /&gt;&lt;fill foreColor=&quot;#00A0F5&quot; visible=&quot;1&quot; /&gt;&lt;/element&gt;&lt;element field=&quot;itemno&quot; type=&quot;autoshape&quot; autoShapeType=&quot;1&quot;&gt;&lt;textframe verticalAnchor=&quot;3&quot; /&gt;&lt;paragraphformat alignment=&quot;1&quot; /&gt;&lt;font color=&quot;#ffffff&quot; /&gt;&lt;/element&gt;&lt;element field=&quot;topic&quot; type=&quot;autoshape&quot; autoShapeType=&quot;1&quot;&gt;&lt;paragraphformat alignment=&quot;1&quot; /&gt;&lt;font color=&quot;#ffffff&quot; /&gt;&lt;/element&gt;&lt;element field=&quot;responsible&quot; type=&quot;autoshape&quot; autoShapeType=&quot;1&quot;&gt;&lt;paragraphformat alignment=&quot;1&quot; /&gt;&lt;font color=&quot;#ffffff&quot; /&gt;&lt;/element&gt;&lt;element field=&quot;freecolumn&quot; type=&quot;autoshape&quot; autoShapeType=&quot;1&quot;&gt;&lt;paragraphformat alignment=&quot;1&quot; /&gt;&lt;font color=&quot;#ffffff&quot; /&gt;&lt;/element&gt;&lt;element field=&quot;timeslot&quot; type=&quot;autoshape&quot; autoShapeType=&quot;1&quot;&gt;&lt;paragraphformat alignment=&quot;1&quot; /&gt;&lt;font color=&quot;#ffffff&quot; /&gt;&lt;/element&gt;&lt;element field=&quot;pageno&quot; type=&quot;autoshape&quot; autoShapeType=&quot;1&quot;&gt;&lt;paragraphformat alignment=&quot;3&quot; /&gt;&lt;font color=&quot;#ffffff&quot; /&gt;&lt;/element&gt;&lt;/case&gt;&lt;case level=&quot;2&quot; selected=&quot;0&quot; break=&quot;0&quot; topMinSpacing=&quot;0&quot; topMaxSpacing=&quot;3&quot; bottomMinSpacing=&quot;0&quot; bottomMaxSpacing=&quot;0&quot;&gt;&lt;element field=&quot;itemno&quot; type=&quot;autoshape&quot; autoShapeType=&quot;1&quot; indent=&quot;(level-1)*40.000001&quot; indentType=&quot;1&quot;&gt;&lt;textframe verticalAnchor=&quot;3&quot; /&gt;&lt;paragraphformat alignment=&quot;1&quot; /&gt;&lt;/element&gt;&lt;element field=&quot;topic&quot; type=&quot;autoshape&quot; autoShapeType=&quot;1&quot; indent=&quot;(level-1)*40.000001&quot; indentType=&quot;2&quot;&gt;&lt;paragraphformat alignment=&quot;1&quot; /&gt;&lt;/element&gt;&lt;element field=&quot;responsible&quot; type=&quot;autoshape&quot; autoShapeType=&quot;1&quot; indent=&quot;(level-1)*40.000001&quot; indentType=&quot;1&quot;&gt;&lt;paragraphformat alignment=&quot;1&quot; /&gt;&lt;/element&gt;&lt;element field=&quot;freecolumn&quot; type=&quot;autoshape&quot; autoShapeType=&quot;1&quot; indent=&quot;(level-1)*40.00000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0&quot; topMaxSpacing=&quot;3&quot; bottomMinSpacing=&quot;0&quot; bottomMaxSpacing=&quot;0&quot;&gt;&lt;element type=&quot;autoshape&quot; autoShapeType=&quot;1&quot; value=&quot;&quot;&gt;&lt;position left=&quot;-19.75&quot; top=&quot;0&quot; width=&quot;agendaWidth+19.75&quot; height=&quot;itemHeight&quot; /&gt;&lt;fill foreColor=&quot;#00A0F5&quot; visible=&quot;1&quot; /&gt;&lt;/element&gt;&lt;element field=&quot;itemno&quot; type=&quot;autoshape&quot; autoShapeType=&quot;1&quot; indent=&quot;(level-1)*40.000001&quot; indentType=&quot;1&quot;&gt;&lt;textframe verticalAnchor=&quot;3&quot; /&gt;&lt;paragraphformat alignment=&quot;1&quot; /&gt;&lt;font color=&quot;#ffffff&quot; /&gt;&lt;/element&gt;&lt;element field=&quot;topic&quot; type=&quot;autoshape&quot; autoShapeType=&quot;1&quot; indent=&quot;(level-1)*40.000001&quot; indentType=&quot;2&quot;&gt;&lt;paragraphformat alignment=&quot;1&quot; /&gt;&lt;font color=&quot;#ffffff&quot; /&gt;&lt;/element&gt;&lt;element field=&quot;responsible&quot; type=&quot;autoshape&quot; autoShapeType=&quot;1&quot; indent=&quot;(level-1)*40.000001&quot; indentType=&quot;1&quot;&gt;&lt;paragraphformat alignment=&quot;1&quot; /&gt;&lt;font color=&quot;#ffffff&quot; /&gt;&lt;/element&gt;&lt;element field=&quot;freecolumn&quot; type=&quot;autoshape&quot; autoShapeType=&quot;1&quot; indent=&quot;(level-1)*40.000001&quot; indentType=&quot;1&quot;&gt;&lt;paragraphformat alignment=&quot;1&quot; /&gt;&lt;font color=&quot;#ffffff&quot; /&gt;&lt;/element&gt;&lt;element field=&quot;timeslot&quot; type=&quot;autoshape&quot; autoShapeType=&quot;1&quot;&gt;&lt;paragraphformat alignment=&quot;1&quot; /&gt;&lt;font color=&quot;#ffffff&quot; /&gt;&lt;/element&gt;&lt;element field=&quot;pageno&quot; type=&quot;autoshape&quot; autoShapeType=&quot;1&quot;&gt;&lt;paragraphformat alignment=&quot;3&quot; /&gt;&lt;font color=&quot;#ffffff&quot; /&gt;&lt;/element&gt;&lt;/case&gt;&lt;case level=&quot;1&quot; selected=&quot;0&quot; break=&quot;1&quot; topMinSpacing=&quot;5&quot; topMaxSpacing=&quot;15&quot; bottomMinSpacing=&quot;0&quot; bottomMaxSpacing=&quot;0&quot;&gt;&lt;element field=&quot;topic&quot; type=&quot;autoshape&quot; autoShapeType=&quot;1&quot;&gt;&lt;paragraphformat alignment=&quot;1&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15&quot; bottomMinSpacing=&quot;0&quot; bottomMaxSpacing=&quot;0&quot;&gt;&lt;element type=&quot;autoshape&quot; autoShapeType=&quot;1&quot; value=&quot;&quot;&gt;&lt;position left=&quot;-19.75&quot; top=&quot;0&quot; width=&quot;agendaWidth+19.75&quot; height=&quot;itemHeight&quot; /&gt;&lt;fill foreColor=&quot;#00A0F5&quot; visible=&quot;1&quot; /&gt;&lt;/element&gt;&lt;element field=&quot;topic&quot; type=&quot;autoshape&quot; autoShapeType=&quot;1&quot;&gt;&lt;paragraphformat alignment=&quot;1&quot; /&gt;&lt;font italic=&quot;1&quot; color=&quot;#ffffff&quot; /&gt;&lt;/element&gt;&lt;element field=&quot;responsible&quot; type=&quot;autoshape&quot; autoShapeType=&quot;1&quot;&gt;&lt;paragraphformat alignment=&quot;1&quot; /&gt;&lt;font italic=&quot;1&quot; color=&quot;#ffffff&quot; /&gt;&lt;/element&gt;&lt;element field=&quot;freecolumn&quot; type=&quot;autoshape&quot; autoShapeType=&quot;1&quot;&gt;&lt;paragraphformat alignment=&quot;1&quot; /&gt;&lt;font italic=&quot;1&quot; color=&quot;#ffffff&quot; /&gt;&lt;/element&gt;&lt;element field=&quot;timeslot&quot; type=&quot;autoshape&quot; autoShapeType=&quot;1&quot;&gt;&lt;paragraphformat alignment=&quot;1&quot; /&gt;&lt;font italic=&quot;1&quot; color=&quot;#ffffff&quot; /&gt;&lt;/element&gt;&lt;element field=&quot;pageno&quot; type=&quot;autoshape&quot; autoShapeType=&quot;1&quot;&gt;&lt;paragraphformat alignment=&quot;3&quot; /&gt;&lt;font italic=&quot;1&quot; color=&quot;#ffffff&quot; /&gt;&lt;/element&gt;&lt;/case&gt;&lt;case level=&quot;2&quot; selected=&quot;0&quot; break=&quot;1&quot; topMinSpacing=&quot;0&quot; topMaxSpacing=&quot;3&quot; bottomMinSpacing=&quot;0&quot; bottomMaxSpacing=&quot;0&quot;&gt;&lt;element field=&quot;topic&quot; type=&quot;autoshape&quot; autoShapeType=&quot;1&quot; indent=&quot;(level-1)*40.000001&quot; indentType=&quot;2&quot;&gt;&lt;paragraphformat alignment=&quot;1&quot; /&gt;&lt;font italic=&quot;1&quot; /&gt;&lt;/element&gt;&lt;element field=&quot;responsible&quot; type=&quot;autoshape&quot; autoShapeType=&quot;1&quot; indent=&quot;(level-1)*40.000001&quot; indentType=&quot;1&quot;&gt;&lt;paragraphformat alignment=&quot;1&quot; /&gt;&lt;font italic=&quot;1&quot; /&gt;&lt;/element&gt;&lt;element field=&quot;freecolumn&quot; type=&quot;autoshape&quot; autoShapeType=&quot;1&quot; indent=&quot;(level-1)*40.000001&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0&quot; topMaxSpacing=&quot;3&quot; bottomMinSpacing=&quot;0&quot; bottomMaxSpacing=&quot;0&quot;&gt;&lt;element type=&quot;autoshape&quot; autoShapeType=&quot;1&quot; value=&quot;&quot;&gt;&lt;position left=&quot;-19.75&quot; top=&quot;0&quot; width=&quot;agendaWidth+19.75&quot; height=&quot;itemHeight&quot; /&gt;&lt;fill foreColor=&quot;#00A0F5&quot; visible=&quot;1&quot; /&gt;&lt;/element&gt;&lt;element field=&quot;topic&quot; type=&quot;autoshape&quot; autoShapeType=&quot;1&quot; indent=&quot;(level-1)*40.000001&quot; indentType=&quot;2&quot;&gt;&lt;paragraphformat alignment=&quot;1&quot; /&gt;&lt;font italic=&quot;1&quot; color=&quot;#ffffff&quot; /&gt;&lt;/element&gt;&lt;element field=&quot;responsible&quot; type=&quot;autoshape&quot; autoShapeType=&quot;1&quot; indent=&quot;(level-1)*40.000001&quot; indentType=&quot;1&quot;&gt;&lt;paragraphformat alignment=&quot;1&quot; /&gt;&lt;font italic=&quot;1&quot; color=&quot;#ffffff&quot; /&gt;&lt;/element&gt;&lt;element field=&quot;freecolumn&quot; type=&quot;autoshape&quot; autoShapeType=&quot;1&quot; indent=&quot;(level-1)*40.000001&quot; indentType=&quot;1&quot;&gt;&lt;paragraphformat alignment=&quot;1&quot; /&gt;&lt;font italic=&quot;1&quot; color=&quot;#ffffff&quot; /&gt;&lt;/element&gt;&lt;element field=&quot;timeslot&quot; type=&quot;autoshape&quot; autoShapeType=&quot;1&quot;&gt;&lt;paragraphformat alignment=&quot;1&quot; /&gt;&lt;font italic=&quot;1&quot; color=&quot;#ffffff&quot; /&gt;&lt;/element&gt;&lt;element field=&quot;pageno&quot; type=&quot;autoshape&quot; autoShapeType=&quot;1&quot;&gt;&lt;paragraphformat alignment=&quot;3&quot; /&gt;&lt;font italic=&quot;1&quot; color=&quot;#ffffff&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Agenda Neue Gesamtschule im GHZ&quot; title=&quot;Agenda&quot; subtitle=&quot;&quot; sizingModeId=&quot;1&quot; fontSize=&quot;18&quot; startTime=&quot;540&quot; timeFormatId=&quot;1&quot; startItemNo=&quot;1&quot; createSingleAgendaSlide=&quot;1&quot; createSeparatingSlides=&quot;0&quot; createBackupSlide=&quot;1&quot; layoutId=&quot;53_2&quot; fontSizeAuto=&quot;0&quot; createSections=&quot;0&quot; singleSlideId=&quot;9c6ae513-5379-466e-8b8c-7fa5b8afdcf5&quot; backupSlideId=&quot;429a7a23-a59c-425b-a2d6-32bd99d34c86&quot; backupSectionId=&quot;&quot;&gt;&lt;columns&gt;&lt;column field=&quot;itemno&quot; label=&quot;No.&quot; checked=&quot;1&quot; leftSpacing=&quot;0&quot; rightSpacing=&quot;0&quot; dock=&quot;1&quot; fixedWidth=&quot;40.000001&quot; /&gt;&lt;column field=&quot;topic&quot; label=&quot;Topic&quot; leftSpacing=&quot;0&quot; rightDistribute=&quot;1&quot; dock=&quot;1&quot; rightSpacing=&quot;110.947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20&quot; dock=&quot;2&quot; /&gt;&lt;column field=&quot;pageno&quot; label=&quot;Page No.&quot; visible=&quot;1&quot; checked=&quot;0&quot; leftSpacing=&quot;20&quot; rightSpacing=&quot;20&quot; dock=&quot;2&quot; /&gt;&lt;/columns&gt;&lt;items&gt;&lt;item duration=&quot;30&quot; id=&quot;d29af69f-e2a3-465c-ad2b-d8e1894d373c&quot; parentId=&quot;&quot; level=&quot;1&quot; generateAgendaSlide=&quot;1&quot; showAgendaItem=&quot;1&quot; isBreak=&quot;1&quot; topic=&quot;1. Gesamtschule als Schulform: Grundprinzipien&quot; agendaSlideId=&quot;&quot; sectionId=&quot;&quot; /&gt;&lt;item duration=&quot;30&quot; id=&quot;cd96d14f-c299-4934-b605-e83c77696cd2&quot; parentId=&quot;&quot; level=&quot;1&quot; generateAgendaSlide=&quot;1&quot; showAgendaItem=&quot;1&quot; isBreak=&quot;1&quot; topic=&quot;     I. Leitsatz&quot; /&gt;&lt;item duration=&quot;30&quot; id=&quot;ab7eed9c-4c20-48cc-9cbc-f0f09c790a48&quot; parentId=&quot;&quot; level=&quot;1&quot; generateAgendaSlide=&quot;1&quot; showAgendaItem=&quot;1&quot; isBreak=&quot;1&quot; topic=&quot;     II. Schulabschlüsse&quot; /&gt;&lt;item duration=&quot;30&quot; id=&quot;c0130c46-1a26-4af1-99e0-eb04436f3825&quot; parentId=&quot;&quot; level=&quot;1&quot; generateAgendaSlide=&quot;1&quot; showAgendaItem=&quot;1&quot; isBreak=&quot;1&quot; topic=&quot;     III. Wahlpflichtfächer&quot; /&gt;&lt;item duration=&quot;30&quot; id=&quot;3f679e01-e59d-49b9-b939-0e7e57db4e98&quot; parentId=&quot;&quot; level=&quot;1&quot; generateAgendaSlide=&quot;1&quot; showAgendaItem=&quot;1&quot; isBreak=&quot;1&quot; topic=&quot;     IV. Sprachenfolge&quot; /&gt;&lt;item duration=&quot;30&quot; id=&quot;c534277c-7205-4a47-8f2c-fdd783b9beae&quot; parentId=&quot;&quot; level=&quot;1&quot; generateAgendaSlide=&quot;1&quot; showAgendaItem=&quot;1&quot; isBreak=&quot;1&quot; topic=&quot;2. Neue Gesamtschule im GHZ - Grundzüge des pädagogischen Konzepts&quot; agendaSlideId=&quot;&quot; sectionId=&quot;&quot; /&gt;&lt;item duration=&quot;30&quot; id=&quot;92b61b4f-6afa-4875-8f84-750b4aa41994&quot; parentId=&quot;&quot; level=&quot;1&quot; generateAgendaSlide=&quot;1&quot; showAgendaItem=&quot;1&quot; isBreak=&quot;1&quot; topic=&quot;     I. Beispiel Stundenplan&quot; agendaSlideId=&quot;&quot; sectionId=&quot;&quot; /&gt;&lt;item duration=&quot;30&quot; id=&quot;04d6bd7a-6a8f-4302-9aa3-7637c7e1294a&quot; parentId=&quot;&quot; level=&quot;1&quot; generateAgendaSlide=&quot;1&quot; showAgendaItem=&quot;1&quot; isBreak=&quot;1&quot; topic=&quot;     II. Lernzeiten&quot; agendaSlideId=&quot;&quot; sectionId=&quot;&quot; /&gt;&lt;item duration=&quot;30&quot; id=&quot;9caf21b2-1f35-4d2c-b5b4-62c34e7d75a9&quot; parentId=&quot;&quot; level=&quot;1&quot; generateAgendaSlide=&quot;1&quot; showAgendaItem=&quot;1&quot; isBreak=&quot;1&quot; topic=&quot;     III. Projektorientierter Unterricht&quot; agendaSlideId=&quot;&quot; sectionId=&quot;&quot; /&gt;&lt;item duration=&quot;30&quot; id=&quot;115c4aef-f233-4baa-8693-6307735d9815&quot; parentId=&quot;&quot; level=&quot;1&quot; generateAgendaSlide=&quot;1&quot; showAgendaItem=&quot;1&quot; isBreak=&quot;1&quot; topic=&quot;     IV. Elternarbeit&quot; agendaSlideId=&quot;&quot; sectionId=&quot;&quot; /&gt;&lt;/items&gt;&lt;/agenda&gt;&lt;agenda name=&quot;New Agenda&quot; title=&quot;Agenda&quot; subtitle=&quot;&quot; sizingModeId=&quot;2&quot; fontSize=&quot;16&quot; startTime=&quot;540&quot; timeFormatId=&quot;1&quot; startItemNo=&quot;1&quot; createSingleAgendaSlide=&quot;1&quot; createSeparatingSlides=&quot;1&quot; createBackupSlide=&quot;1&quot; layoutId=&quot;53_2&quot; fontSizeAuto=&quot;0&quot; createSections=&quot;0&quot;&gt;&lt;columns&gt;&lt;column field=&quot;itemno&quot; label=&quot;No.&quot; checked=&quot;1&quot; leftSpacing=&quot;0&quot; rightSpacing=&quot;0&quot; dock=&quot;1&quot; fixedWidth=&quot;40.000001&quot; /&gt;&lt;column field=&quot;topic&quot; label=&quot;Topic&quot; leftSpacing=&quot;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20&quot; dock=&quot;2&quot; /&gt;&lt;column field=&quot;pageno&quot; label=&quot;Page No.&quot; visible=&quot;1&quot; checked=&quot;0&quot; leftSpacing=&quot;20&quot; rightSpacing=&quot;20&quot; dock=&quot;2&quot; /&gt;&lt;/columns&gt;&lt;items /&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7JAlrAxQi6soiV5Pl0L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hqd.myMSASlrM0TbkWd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3gtOaKtRNWEYKN6hdp8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5JvsFqgRAWklSlZVPWb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0ti9Y2.SMyIS4U0_EwO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A_M8SlgRJ.XBeoQL8b9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1UeGXaFQXCUVtDEW2wUWA"/>
</p:tagLst>
</file>

<file path=ppt/theme/theme1.xml><?xml version="1.0" encoding="utf-8"?>
<a:theme xmlns:a="http://schemas.openxmlformats.org/drawingml/2006/main" name="Master_4 3_DE">
  <a:themeElements>
    <a:clrScheme name="thyssenkrupp">
      <a:dk1>
        <a:srgbClr val="4B5564"/>
      </a:dk1>
      <a:lt1>
        <a:srgbClr val="FFFFFF"/>
      </a:lt1>
      <a:dk2>
        <a:srgbClr val="B0BAC4"/>
      </a:dk2>
      <a:lt2>
        <a:srgbClr val="78879B"/>
      </a:lt2>
      <a:accent1>
        <a:srgbClr val="D9DEE8"/>
      </a:accent1>
      <a:accent2>
        <a:srgbClr val="003C7D"/>
      </a:accent2>
      <a:accent3>
        <a:srgbClr val="0078DC"/>
      </a:accent3>
      <a:accent4>
        <a:srgbClr val="74C4EF"/>
      </a:accent4>
      <a:accent5>
        <a:srgbClr val="00A0F5"/>
      </a:accent5>
      <a:accent6>
        <a:srgbClr val="FFB400"/>
      </a:accent6>
      <a:hlink>
        <a:srgbClr val="4B5564"/>
      </a:hlink>
      <a:folHlink>
        <a:srgbClr val="9FAAB8"/>
      </a:folHlink>
    </a:clrScheme>
    <a:fontScheme name="TK_neu">
      <a:majorFont>
        <a:latin typeface="TKTypeBold"/>
        <a:ea typeface=""/>
        <a:cs typeface=""/>
      </a:majorFont>
      <a:minorFont>
        <a:latin typeface="TKTypeMediu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Bef>
            <a:spcPts val="600"/>
          </a:spcBef>
          <a:spcAft>
            <a:spcPts val="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spcBef>
            <a:spcPts val="600"/>
          </a:spcBef>
          <a:spcAft>
            <a:spcPts val="0"/>
          </a:spcAft>
          <a:defRPr sz="1600" dirty="0" smtClean="0"/>
        </a:defPPr>
      </a:lstStyle>
    </a:txDef>
  </a:objectDefaults>
  <a:extraClrScheme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05</Words>
  <Application>Microsoft Office PowerPoint</Application>
  <PresentationFormat>Bildschirmpräsentation (4:3)</PresentationFormat>
  <Paragraphs>304</Paragraphs>
  <Slides>36</Slides>
  <Notes>30</Notes>
  <HiddenSlides>0</HiddenSlides>
  <MMClips>1</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2</vt:i4>
      </vt:variant>
      <vt:variant>
        <vt:lpstr>Folientitel</vt:lpstr>
      </vt:variant>
      <vt:variant>
        <vt:i4>36</vt:i4>
      </vt:variant>
    </vt:vector>
  </HeadingPairs>
  <TitlesOfParts>
    <vt:vector size="46" baseType="lpstr">
      <vt:lpstr>Arial</vt:lpstr>
      <vt:lpstr>Calibri</vt:lpstr>
      <vt:lpstr>Calibri Light</vt:lpstr>
      <vt:lpstr>TKTypeBold</vt:lpstr>
      <vt:lpstr>TKTypeMedium</vt:lpstr>
      <vt:lpstr>Wingdings</vt:lpstr>
      <vt:lpstr>Master_4 3_DE</vt:lpstr>
      <vt:lpstr>Benutzerdefiniertes Design</vt:lpstr>
      <vt:lpstr>think-cell Folie</vt:lpstr>
      <vt:lpstr>Acrobat Document</vt:lpstr>
      <vt:lpstr>PowerPoint-Präsentation</vt:lpstr>
      <vt:lpstr>Informationsabend</vt:lpstr>
      <vt:lpstr>Unser Kollegium: 72 Lehrende…</vt:lpstr>
      <vt:lpstr>Neubau für Jahrgang 5 und 6</vt:lpstr>
      <vt:lpstr>Umbausituation/ Ausblick Sanierungsarbeiten</vt:lpstr>
      <vt:lpstr>Umbausituation </vt:lpstr>
      <vt:lpstr>Gesamtschulen als Schulform: Grundprinzipien</vt:lpstr>
      <vt:lpstr>Gesamtschulen als Schulform: Grundprinzipien</vt:lpstr>
      <vt:lpstr>Gesamtschulen als Schulform: Grundprinzipien</vt:lpstr>
      <vt:lpstr>Gesamtschulen als Schulform: Grundprinzipien</vt:lpstr>
      <vt:lpstr>Gesamtschulen als Schulform: Fachleistungsdifferenzierung Beispiel: Fach Deutsch</vt:lpstr>
      <vt:lpstr>Gesamtschulen als Schulform: Grundprinzipien</vt:lpstr>
      <vt:lpstr>Gesamtschulen als Schulform: Grundprinzipien</vt:lpstr>
      <vt:lpstr>Gesamtschulen als Schulform: Grundprinzipien</vt:lpstr>
      <vt:lpstr>Gesamtschulen als Schulform: Grundprinzipien</vt:lpstr>
      <vt:lpstr>Gesamtschulen als Schulform: Grundprinzipien</vt:lpstr>
      <vt:lpstr>Gesamtschulen als Schulform: FAZIT</vt:lpstr>
      <vt:lpstr>Grundzüge des pädagogischen Konzeptes</vt:lpstr>
      <vt:lpstr>Gesamtschule Hiesfeld - Grundzüge des pädagogischen Konzepts</vt:lpstr>
      <vt:lpstr>„Halt und Struktur“</vt:lpstr>
      <vt:lpstr>„Eigenverantwortlich“</vt:lpstr>
      <vt:lpstr>PowerPoint-Präsentation</vt:lpstr>
      <vt:lpstr>„… und kreativ“</vt:lpstr>
      <vt:lpstr>„Erfolgreich sein…“</vt:lpstr>
      <vt:lpstr>„Sportlich, gesund und nachhaltig“</vt:lpstr>
      <vt:lpstr>„Füreinander“</vt:lpstr>
      <vt:lpstr>„Engagiert…“</vt:lpstr>
      <vt:lpstr>„Engagiert…“</vt:lpstr>
      <vt:lpstr>„Du!“</vt:lpstr>
      <vt:lpstr>Gesamtschule Hiesfeld - Grundzüge des pädagogischen Konzepts</vt:lpstr>
      <vt:lpstr>„Miteinander Zukunft gestalten“ </vt:lpstr>
      <vt:lpstr>PowerPoint-Präsentation</vt:lpstr>
      <vt:lpstr>Ganztag und Lern- und Freizeitzentrum</vt:lpstr>
      <vt:lpstr>Termine</vt:lpstr>
      <vt:lpstr>Gibt es noch allgemeine Fragen? Bis bald an der Gesamtschule Hiesfeld!</vt:lpstr>
      <vt:lpstr>PowerPoint-Präsentation</vt:lpstr>
    </vt:vector>
  </TitlesOfParts>
  <Company>ThyssenKrupp IT Services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chubert, Klaudia Irena</dc:creator>
  <cp:lastModifiedBy>Daniela Gottwald</cp:lastModifiedBy>
  <cp:revision>743</cp:revision>
  <cp:lastPrinted>2022-12-02T10:04:07Z</cp:lastPrinted>
  <dcterms:created xsi:type="dcterms:W3CDTF">2019-09-12T09:44:41Z</dcterms:created>
  <dcterms:modified xsi:type="dcterms:W3CDTF">2025-12-03T13:22:24Z</dcterms:modified>
</cp:coreProperties>
</file>